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4"/>
    <p:sldMasterId id="2147483714" r:id="rId5"/>
  </p:sldMasterIdLst>
  <p:notesMasterIdLst>
    <p:notesMasterId r:id="rId18"/>
  </p:notesMasterIdLst>
  <p:handoutMasterIdLst>
    <p:handoutMasterId r:id="rId19"/>
  </p:handoutMasterIdLst>
  <p:sldIdLst>
    <p:sldId id="294" r:id="rId6"/>
    <p:sldId id="4200" r:id="rId7"/>
    <p:sldId id="4193" r:id="rId8"/>
    <p:sldId id="4109" r:id="rId9"/>
    <p:sldId id="1008" r:id="rId10"/>
    <p:sldId id="4199" r:id="rId11"/>
    <p:sldId id="4195" r:id="rId12"/>
    <p:sldId id="4197" r:id="rId13"/>
    <p:sldId id="4194" r:id="rId14"/>
    <p:sldId id="4198" r:id="rId15"/>
    <p:sldId id="4202" r:id="rId16"/>
    <p:sldId id="4201" r:id="rId17"/>
  </p:sldIdLst>
  <p:sldSz cx="9144000" cy="5143500" type="screen16x9"/>
  <p:notesSz cx="6797675" cy="9926638"/>
  <p:custDataLst>
    <p:tags r:id="rId2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DA598886-7969-4D18-9B35-AF40CBC57C56}">
          <p14:sldIdLst>
            <p14:sldId id="294"/>
            <p14:sldId id="4200"/>
            <p14:sldId id="4193"/>
            <p14:sldId id="4109"/>
            <p14:sldId id="1008"/>
            <p14:sldId id="4199"/>
            <p14:sldId id="4195"/>
            <p14:sldId id="4197"/>
            <p14:sldId id="4194"/>
            <p14:sldId id="4198"/>
            <p14:sldId id="4202"/>
            <p14:sldId id="4201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2845" userDrawn="1">
          <p15:clr>
            <a:srgbClr val="A4A3A4"/>
          </p15:clr>
        </p15:guide>
        <p15:guide id="3" pos="226">
          <p15:clr>
            <a:srgbClr val="A4A3A4"/>
          </p15:clr>
        </p15:guide>
        <p15:guide id="4" pos="5035" userDrawn="1">
          <p15:clr>
            <a:srgbClr val="A4A3A4"/>
          </p15:clr>
        </p15:guide>
        <p15:guide id="5" userDrawn="1">
          <p15:clr>
            <a:srgbClr val="A4A3A4"/>
          </p15:clr>
        </p15:guide>
        <p15:guide id="6" pos="2971" userDrawn="1">
          <p15:clr>
            <a:srgbClr val="A4A3A4"/>
          </p15:clr>
        </p15:guide>
        <p15:guide id="7" orient="horz" pos="486" userDrawn="1">
          <p15:clr>
            <a:srgbClr val="A4A3A4"/>
          </p15:clr>
        </p15:guide>
        <p15:guide id="8" orient="horz" pos="7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5D63426-0BF8-9837-F49B-3D24A6D698BE}" name="Löwe, Anton" initials="LA" userId="S::antonloewe@kpmg.com::71f8d7f8-19d3-4bb5-abe9-092f850208f8" providerId="AD"/>
  <p188:author id="{25C9C32B-40EE-9AE4-4784-B3412DC0E3BE}" name="Cook, Kilian" initials="KC" userId="S::kiliancook@kpmg.com::3add04a5-88e9-4a37-a4bb-1f9d6a4df830" providerId="AD"/>
  <p188:author id="{0B307939-1A7B-4A4B-2601-24A395AADE7D}" name="Gutzeit Jonas (SNH ST-MI-PB-BO)" initials="GJ(SMPB" userId="S::jonas.gutzeit@stromnetz-hamburg.de::623b3485-d7b7-44b5-a9c4-e739ab020523" providerId="AD"/>
  <p188:author id="{D689E256-0263-31F0-FC2A-8848A53A8330}" name="Stahlschmidt Simon (HNE US-MI-PB-BO)" initials="SS" userId="S::simon.stahlschmidt@ausbildung.hamburger-energienetze.de::d0c21d57-f419-4041-860e-7b79f1153270" providerId="AD"/>
  <p188:author id="{940A2FA4-E710-CDAC-6489-97C0FF83C530}" name="Ryterski Finn (HNE US-MI-PB-BO)" initials="FR" userId="S::finn.ryterski@hamburger-energienetze.de::efff052d-68b9-4e8d-b65b-45dff653056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9357"/>
    <a:srgbClr val="E7E207"/>
    <a:srgbClr val="00B050"/>
    <a:srgbClr val="E66100"/>
    <a:srgbClr val="E10019"/>
    <a:srgbClr val="003063"/>
    <a:srgbClr val="002C57"/>
    <a:srgbClr val="FFC000"/>
    <a:srgbClr val="F2F2F2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0476CF-5473-18D4-586C-F177DEF12BEE}" v="16" dt="2025-04-15T10:41:24.480"/>
    <p1510:client id="{498EBCE8-6A5B-C2BC-ECD9-6B3BBAA73CDE}" v="184" dt="2025-04-15T15:57:30.444"/>
    <p1510:client id="{4E77B3E1-3366-4E21-A4A0-00058AAC76A0}" v="1559" dt="2025-04-16T08:31:56.315"/>
    <p1510:client id="{89E41BD5-FF11-A5F1-6FA1-E1FF5A0236D8}" v="47" dt="2025-04-15T11:06:56.889"/>
    <p1510:client id="{9735D641-70C3-4A5D-8550-BC892F94A129}" v="1" dt="2025-04-15T17:55:27.562"/>
    <p1510:client id="{9BD58296-2936-933A-4B87-A386877C05A3}" v="121" dt="2025-04-15T11:19:35.716"/>
    <p1510:client id="{9E0326C2-F502-72CA-5DC3-565E81CD991A}" v="4" dt="2025-04-15T11:29:39.619"/>
    <p1510:client id="{D926C8A5-A6CA-3795-41B3-DD7D7D46B8C8}" v="5" dt="2025-04-15T14:52:36.530"/>
    <p1510:client id="{DD26A818-590F-0524-5D4A-1FE3026A2651}" v="3" dt="2025-04-15T11:57:34.6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845"/>
        <p:guide pos="226"/>
        <p:guide pos="5035"/>
        <p:guide/>
        <p:guide pos="2971"/>
        <p:guide orient="horz" pos="486"/>
        <p:guide orient="horz" pos="735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erstin Müller (Hamburg Port Authority AöR)" userId="S::kerstin.mueller_hpa.hamburg.de#ext#@fhhinfra.onmicrosoft.com::4a9410fc-619c-4e33-a753-a4d73ec6f1a8" providerId="AD" clId="Web-{9E0326C2-F502-72CA-5DC3-565E81CD991A}"/>
    <pc:docChg chg="modSld">
      <pc:chgData name="Kerstin Müller (Hamburg Port Authority AöR)" userId="S::kerstin.mueller_hpa.hamburg.de#ext#@fhhinfra.onmicrosoft.com::4a9410fc-619c-4e33-a753-a4d73ec6f1a8" providerId="AD" clId="Web-{9E0326C2-F502-72CA-5DC3-565E81CD991A}" dt="2025-04-15T11:29:39.619" v="3" actId="1076"/>
      <pc:docMkLst>
        <pc:docMk/>
      </pc:docMkLst>
      <pc:sldChg chg="modSp">
        <pc:chgData name="Kerstin Müller (Hamburg Port Authority AöR)" userId="S::kerstin.mueller_hpa.hamburg.de#ext#@fhhinfra.onmicrosoft.com::4a9410fc-619c-4e33-a753-a4d73ec6f1a8" providerId="AD" clId="Web-{9E0326C2-F502-72CA-5DC3-565E81CD991A}" dt="2025-04-15T11:29:39.619" v="3" actId="1076"/>
        <pc:sldMkLst>
          <pc:docMk/>
          <pc:sldMk cId="1310280941" sldId="4193"/>
        </pc:sldMkLst>
        <pc:grpChg chg="mod">
          <ac:chgData name="Kerstin Müller (Hamburg Port Authority AöR)" userId="S::kerstin.mueller_hpa.hamburg.de#ext#@fhhinfra.onmicrosoft.com::4a9410fc-619c-4e33-a753-a4d73ec6f1a8" providerId="AD" clId="Web-{9E0326C2-F502-72CA-5DC3-565E81CD991A}" dt="2025-04-15T11:29:34.666" v="2" actId="1076"/>
          <ac:grpSpMkLst>
            <pc:docMk/>
            <pc:sldMk cId="1310280941" sldId="4193"/>
            <ac:grpSpMk id="20" creationId="{164C8E89-271C-7BB4-09A3-3AB6FCDF652C}"/>
          </ac:grpSpMkLst>
        </pc:grpChg>
        <pc:picChg chg="mod">
          <ac:chgData name="Kerstin Müller (Hamburg Port Authority AöR)" userId="S::kerstin.mueller_hpa.hamburg.de#ext#@fhhinfra.onmicrosoft.com::4a9410fc-619c-4e33-a753-a4d73ec6f1a8" providerId="AD" clId="Web-{9E0326C2-F502-72CA-5DC3-565E81CD991A}" dt="2025-04-15T11:29:39.619" v="3" actId="1076"/>
          <ac:picMkLst>
            <pc:docMk/>
            <pc:sldMk cId="1310280941" sldId="4193"/>
            <ac:picMk id="36" creationId="{A155433F-C787-FD19-748C-D00F1C5254BE}"/>
          </ac:picMkLst>
        </pc:picChg>
      </pc:sldChg>
    </pc:docChg>
  </pc:docChgLst>
  <pc:docChgLst>
    <pc:chgData name="Ryterski Finn (HNE US-MI-PB-BO)" userId="S::finn.ryterski@hamburger-energienetze.de::efff052d-68b9-4e8d-b65b-45dff653056d" providerId="AD" clId="Web-{9BD58296-2936-933A-4B87-A386877C05A3}"/>
    <pc:docChg chg="modSld">
      <pc:chgData name="Ryterski Finn (HNE US-MI-PB-BO)" userId="S::finn.ryterski@hamburger-energienetze.de::efff052d-68b9-4e8d-b65b-45dff653056d" providerId="AD" clId="Web-{9BD58296-2936-933A-4B87-A386877C05A3}" dt="2025-04-15T11:19:35.716" v="113" actId="1076"/>
      <pc:docMkLst>
        <pc:docMk/>
      </pc:docMkLst>
      <pc:sldChg chg="addSp delSp modSp">
        <pc:chgData name="Ryterski Finn (HNE US-MI-PB-BO)" userId="S::finn.ryterski@hamburger-energienetze.de::efff052d-68b9-4e8d-b65b-45dff653056d" providerId="AD" clId="Web-{9BD58296-2936-933A-4B87-A386877C05A3}" dt="2025-04-15T11:16:50.682" v="107"/>
        <pc:sldMkLst>
          <pc:docMk/>
          <pc:sldMk cId="4205305038" sldId="4109"/>
        </pc:sldMkLst>
        <pc:spChg chg="mod">
          <ac:chgData name="Ryterski Finn (HNE US-MI-PB-BO)" userId="S::finn.ryterski@hamburger-energienetze.de::efff052d-68b9-4e8d-b65b-45dff653056d" providerId="AD" clId="Web-{9BD58296-2936-933A-4B87-A386877C05A3}" dt="2025-04-15T11:16:41.104" v="93" actId="20577"/>
          <ac:spMkLst>
            <pc:docMk/>
            <pc:sldMk cId="4205305038" sldId="4109"/>
            <ac:spMk id="7" creationId="{6FE81465-32AD-F924-DB58-6A9465F006DF}"/>
          </ac:spMkLst>
        </pc:spChg>
        <pc:spChg chg="add del mod">
          <ac:chgData name="Ryterski Finn (HNE US-MI-PB-BO)" userId="S::finn.ryterski@hamburger-energienetze.de::efff052d-68b9-4e8d-b65b-45dff653056d" providerId="AD" clId="Web-{9BD58296-2936-933A-4B87-A386877C05A3}" dt="2025-04-15T11:16:46.292" v="104" actId="20577"/>
          <ac:spMkLst>
            <pc:docMk/>
            <pc:sldMk cId="4205305038" sldId="4109"/>
            <ac:spMk id="14" creationId="{F28BE4D0-4A41-47E1-FA0F-B3D7C4F01B2D}"/>
          </ac:spMkLst>
        </pc:spChg>
        <pc:spChg chg="del mod">
          <ac:chgData name="Ryterski Finn (HNE US-MI-PB-BO)" userId="S::finn.ryterski@hamburger-energienetze.de::efff052d-68b9-4e8d-b65b-45dff653056d" providerId="AD" clId="Web-{9BD58296-2936-933A-4B87-A386877C05A3}" dt="2025-04-15T11:16:50.682" v="107"/>
          <ac:spMkLst>
            <pc:docMk/>
            <pc:sldMk cId="4205305038" sldId="4109"/>
            <ac:spMk id="15" creationId="{70EF9389-300A-33A4-76A5-CEE2649F7A4D}"/>
          </ac:spMkLst>
        </pc:spChg>
        <pc:spChg chg="del">
          <ac:chgData name="Ryterski Finn (HNE US-MI-PB-BO)" userId="S::finn.ryterski@hamburger-energienetze.de::efff052d-68b9-4e8d-b65b-45dff653056d" providerId="AD" clId="Web-{9BD58296-2936-933A-4B87-A386877C05A3}" dt="2025-04-15T11:16:48.995" v="105"/>
          <ac:spMkLst>
            <pc:docMk/>
            <pc:sldMk cId="4205305038" sldId="4109"/>
            <ac:spMk id="20" creationId="{7C3EF63E-B494-EB7A-2A51-BD119C8316B1}"/>
          </ac:spMkLst>
        </pc:spChg>
        <pc:spChg chg="mod">
          <ac:chgData name="Ryterski Finn (HNE US-MI-PB-BO)" userId="S::finn.ryterski@hamburger-energienetze.de::efff052d-68b9-4e8d-b65b-45dff653056d" providerId="AD" clId="Web-{9BD58296-2936-933A-4B87-A386877C05A3}" dt="2025-04-15T11:16:29.666" v="89" actId="20577"/>
          <ac:spMkLst>
            <pc:docMk/>
            <pc:sldMk cId="4205305038" sldId="4109"/>
            <ac:spMk id="22" creationId="{EA4C331A-6444-8E81-23AE-588C097EE523}"/>
          </ac:spMkLst>
        </pc:spChg>
      </pc:sldChg>
      <pc:sldChg chg="modSp">
        <pc:chgData name="Ryterski Finn (HNE US-MI-PB-BO)" userId="S::finn.ryterski@hamburger-energienetze.de::efff052d-68b9-4e8d-b65b-45dff653056d" providerId="AD" clId="Web-{9BD58296-2936-933A-4B87-A386877C05A3}" dt="2025-04-15T11:14:07.226" v="1" actId="1076"/>
        <pc:sldMkLst>
          <pc:docMk/>
          <pc:sldMk cId="1310280941" sldId="4193"/>
        </pc:sldMkLst>
        <pc:grpChg chg="mod">
          <ac:chgData name="Ryterski Finn (HNE US-MI-PB-BO)" userId="S::finn.ryterski@hamburger-energienetze.de::efff052d-68b9-4e8d-b65b-45dff653056d" providerId="AD" clId="Web-{9BD58296-2936-933A-4B87-A386877C05A3}" dt="2025-04-15T11:13:50.085" v="0" actId="1076"/>
          <ac:grpSpMkLst>
            <pc:docMk/>
            <pc:sldMk cId="1310280941" sldId="4193"/>
            <ac:grpSpMk id="20" creationId="{164C8E89-271C-7BB4-09A3-3AB6FCDF652C}"/>
          </ac:grpSpMkLst>
        </pc:grpChg>
        <pc:picChg chg="mod">
          <ac:chgData name="Ryterski Finn (HNE US-MI-PB-BO)" userId="S::finn.ryterski@hamburger-energienetze.de::efff052d-68b9-4e8d-b65b-45dff653056d" providerId="AD" clId="Web-{9BD58296-2936-933A-4B87-A386877C05A3}" dt="2025-04-15T11:14:07.226" v="1" actId="1076"/>
          <ac:picMkLst>
            <pc:docMk/>
            <pc:sldMk cId="1310280941" sldId="4193"/>
            <ac:picMk id="45" creationId="{38812105-3299-595F-FE64-4F57B626679F}"/>
          </ac:picMkLst>
        </pc:picChg>
      </pc:sldChg>
      <pc:sldChg chg="modSp">
        <pc:chgData name="Ryterski Finn (HNE US-MI-PB-BO)" userId="S::finn.ryterski@hamburger-energienetze.de::efff052d-68b9-4e8d-b65b-45dff653056d" providerId="AD" clId="Web-{9BD58296-2936-933A-4B87-A386877C05A3}" dt="2025-04-15T11:19:35.716" v="113" actId="1076"/>
        <pc:sldMkLst>
          <pc:docMk/>
          <pc:sldMk cId="1381429792" sldId="4194"/>
        </pc:sldMkLst>
        <pc:picChg chg="mod">
          <ac:chgData name="Ryterski Finn (HNE US-MI-PB-BO)" userId="S::finn.ryterski@hamburger-energienetze.de::efff052d-68b9-4e8d-b65b-45dff653056d" providerId="AD" clId="Web-{9BD58296-2936-933A-4B87-A386877C05A3}" dt="2025-04-15T11:19:35.716" v="113" actId="1076"/>
          <ac:picMkLst>
            <pc:docMk/>
            <pc:sldMk cId="1381429792" sldId="4194"/>
            <ac:picMk id="9" creationId="{5319B68B-21FC-5A2D-3C4A-FA1E33E8B4BE}"/>
          </ac:picMkLst>
        </pc:picChg>
        <pc:picChg chg="mod">
          <ac:chgData name="Ryterski Finn (HNE US-MI-PB-BO)" userId="S::finn.ryterski@hamburger-energienetze.de::efff052d-68b9-4e8d-b65b-45dff653056d" providerId="AD" clId="Web-{9BD58296-2936-933A-4B87-A386877C05A3}" dt="2025-04-15T11:19:33.654" v="110" actId="1076"/>
          <ac:picMkLst>
            <pc:docMk/>
            <pc:sldMk cId="1381429792" sldId="4194"/>
            <ac:picMk id="12" creationId="{B60D2A7E-529C-D5EC-45D0-92D8FD41217E}"/>
          </ac:picMkLst>
        </pc:picChg>
      </pc:sldChg>
    </pc:docChg>
  </pc:docChgLst>
  <pc:docChgLst>
    <pc:chgData name="Ryterski Finn (HNE US-MI-PB-BO)" userId="efff052d-68b9-4e8d-b65b-45dff653056d" providerId="ADAL" clId="{870BDC5B-2E94-425D-B3D4-696163FAE54F}"/>
    <pc:docChg chg="undo redo custSel addSld delSld modSld sldOrd delMainMaster modSection">
      <pc:chgData name="Ryterski Finn (HNE US-MI-PB-BO)" userId="efff052d-68b9-4e8d-b65b-45dff653056d" providerId="ADAL" clId="{870BDC5B-2E94-425D-B3D4-696163FAE54F}" dt="2025-04-10T12:03:49.617" v="47529"/>
      <pc:docMkLst>
        <pc:docMk/>
      </pc:docMkLst>
      <pc:sldChg chg="modSp mod">
        <pc:chgData name="Ryterski Finn (HNE US-MI-PB-BO)" userId="efff052d-68b9-4e8d-b65b-45dff653056d" providerId="ADAL" clId="{870BDC5B-2E94-425D-B3D4-696163FAE54F}" dt="2025-04-07T06:55:26.575" v="17046" actId="20577"/>
        <pc:sldMkLst>
          <pc:docMk/>
          <pc:sldMk cId="1940875269" sldId="334"/>
        </pc:sldMkLst>
        <pc:spChg chg="mod">
          <ac:chgData name="Ryterski Finn (HNE US-MI-PB-BO)" userId="efff052d-68b9-4e8d-b65b-45dff653056d" providerId="ADAL" clId="{870BDC5B-2E94-425D-B3D4-696163FAE54F}" dt="2025-04-03T06:32:16.465" v="1" actId="20577"/>
          <ac:spMkLst>
            <pc:docMk/>
            <pc:sldMk cId="1940875269" sldId="334"/>
            <ac:spMk id="6" creationId="{00000000-0000-0000-0000-000000000000}"/>
          </ac:spMkLst>
        </pc:spChg>
        <pc:spChg chg="mod">
          <ac:chgData name="Ryterski Finn (HNE US-MI-PB-BO)" userId="efff052d-68b9-4e8d-b65b-45dff653056d" providerId="ADAL" clId="{870BDC5B-2E94-425D-B3D4-696163FAE54F}" dt="2025-04-07T06:55:26.575" v="17046" actId="20577"/>
          <ac:spMkLst>
            <pc:docMk/>
            <pc:sldMk cId="1940875269" sldId="334"/>
            <ac:spMk id="7" creationId="{00000000-0000-0000-0000-000000000000}"/>
          </ac:spMkLst>
        </pc:spChg>
      </pc:sldChg>
      <pc:sldChg chg="addSp delSp modSp mod">
        <pc:chgData name="Ryterski Finn (HNE US-MI-PB-BO)" userId="efff052d-68b9-4e8d-b65b-45dff653056d" providerId="ADAL" clId="{870BDC5B-2E94-425D-B3D4-696163FAE54F}" dt="2025-04-10T12:03:49.617" v="47529"/>
        <pc:sldMkLst>
          <pc:docMk/>
          <pc:sldMk cId="2232075066" sldId="991"/>
        </pc:sldMkLst>
        <pc:spChg chg="del">
          <ac:chgData name="Ryterski Finn (HNE US-MI-PB-BO)" userId="efff052d-68b9-4e8d-b65b-45dff653056d" providerId="ADAL" clId="{870BDC5B-2E94-425D-B3D4-696163FAE54F}" dt="2025-04-10T12:03:49.407" v="47528" actId="478"/>
          <ac:spMkLst>
            <pc:docMk/>
            <pc:sldMk cId="2232075066" sldId="991"/>
            <ac:spMk id="2" creationId="{D217581E-0466-E72E-9794-ED3CC3895626}"/>
          </ac:spMkLst>
        </pc:spChg>
        <pc:spChg chg="add mod">
          <ac:chgData name="Ryterski Finn (HNE US-MI-PB-BO)" userId="efff052d-68b9-4e8d-b65b-45dff653056d" providerId="ADAL" clId="{870BDC5B-2E94-425D-B3D4-696163FAE54F}" dt="2025-04-10T12:03:49.617" v="47529"/>
          <ac:spMkLst>
            <pc:docMk/>
            <pc:sldMk cId="2232075066" sldId="991"/>
            <ac:spMk id="4" creationId="{3AF23924-8A3A-E6DE-844E-CECC19A7679B}"/>
          </ac:spMkLst>
        </pc:spChg>
      </pc:sldChg>
      <pc:sldChg chg="addSp modSp mod">
        <pc:chgData name="Ryterski Finn (HNE US-MI-PB-BO)" userId="efff052d-68b9-4e8d-b65b-45dff653056d" providerId="ADAL" clId="{870BDC5B-2E94-425D-B3D4-696163FAE54F}" dt="2025-04-07T08:30:07.230" v="25403" actId="20577"/>
        <pc:sldMkLst>
          <pc:docMk/>
          <pc:sldMk cId="4205305038" sldId="4109"/>
        </pc:sldMkLst>
        <pc:spChg chg="mod">
          <ac:chgData name="Ryterski Finn (HNE US-MI-PB-BO)" userId="efff052d-68b9-4e8d-b65b-45dff653056d" providerId="ADAL" clId="{870BDC5B-2E94-425D-B3D4-696163FAE54F}" dt="2025-04-07T05:35:21.659" v="2550" actId="20577"/>
          <ac:spMkLst>
            <pc:docMk/>
            <pc:sldMk cId="4205305038" sldId="4109"/>
            <ac:spMk id="6" creationId="{1E0331B2-82E1-B647-89E7-DA3E5B7BBC3F}"/>
          </ac:spMkLst>
        </pc:spChg>
        <pc:spChg chg="add mod">
          <ac:chgData name="Ryterski Finn (HNE US-MI-PB-BO)" userId="efff052d-68b9-4e8d-b65b-45dff653056d" providerId="ADAL" clId="{870BDC5B-2E94-425D-B3D4-696163FAE54F}" dt="2025-04-07T08:28:21.083" v="25345" actId="20577"/>
          <ac:spMkLst>
            <pc:docMk/>
            <pc:sldMk cId="4205305038" sldId="4109"/>
            <ac:spMk id="8" creationId="{7B24CA1D-AB8E-ACB1-9DAB-4101D56EC677}"/>
          </ac:spMkLst>
        </pc:spChg>
        <pc:spChg chg="add mod">
          <ac:chgData name="Ryterski Finn (HNE US-MI-PB-BO)" userId="efff052d-68b9-4e8d-b65b-45dff653056d" providerId="ADAL" clId="{870BDC5B-2E94-425D-B3D4-696163FAE54F}" dt="2025-04-07T08:30:07.230" v="25403" actId="20577"/>
          <ac:spMkLst>
            <pc:docMk/>
            <pc:sldMk cId="4205305038" sldId="4109"/>
            <ac:spMk id="9" creationId="{42DC99A5-BE39-1817-1722-94F3CA33CA83}"/>
          </ac:spMkLst>
        </pc:spChg>
        <pc:spChg chg="mod">
          <ac:chgData name="Ryterski Finn (HNE US-MI-PB-BO)" userId="efff052d-68b9-4e8d-b65b-45dff653056d" providerId="ADAL" clId="{870BDC5B-2E94-425D-B3D4-696163FAE54F}" dt="2025-04-07T08:29:54.623" v="25399" actId="20577"/>
          <ac:spMkLst>
            <pc:docMk/>
            <pc:sldMk cId="4205305038" sldId="4109"/>
            <ac:spMk id="14" creationId="{F28BE4D0-4A41-47E1-FA0F-B3D7C4F01B2D}"/>
          </ac:spMkLst>
        </pc:spChg>
        <pc:spChg chg="mod">
          <ac:chgData name="Ryterski Finn (HNE US-MI-PB-BO)" userId="efff052d-68b9-4e8d-b65b-45dff653056d" providerId="ADAL" clId="{870BDC5B-2E94-425D-B3D4-696163FAE54F}" dt="2025-04-07T08:28:46.954" v="25393" actId="20577"/>
          <ac:spMkLst>
            <pc:docMk/>
            <pc:sldMk cId="4205305038" sldId="4109"/>
            <ac:spMk id="20" creationId="{7C3EF63E-B494-EB7A-2A51-BD119C8316B1}"/>
          </ac:spMkLst>
        </pc:spChg>
        <pc:spChg chg="mod">
          <ac:chgData name="Ryterski Finn (HNE US-MI-PB-BO)" userId="efff052d-68b9-4e8d-b65b-45dff653056d" providerId="ADAL" clId="{870BDC5B-2E94-425D-B3D4-696163FAE54F}" dt="2025-04-03T06:32:33.752" v="17" actId="20577"/>
          <ac:spMkLst>
            <pc:docMk/>
            <pc:sldMk cId="4205305038" sldId="4109"/>
            <ac:spMk id="22" creationId="{EA4C331A-6444-8E81-23AE-588C097EE523}"/>
          </ac:spMkLst>
        </pc:spChg>
      </pc:sldChg>
      <pc:sldChg chg="modSp mod">
        <pc:chgData name="Ryterski Finn (HNE US-MI-PB-BO)" userId="efff052d-68b9-4e8d-b65b-45dff653056d" providerId="ADAL" clId="{870BDC5B-2E94-425D-B3D4-696163FAE54F}" dt="2025-04-07T08:29:38.642" v="25397" actId="20577"/>
        <pc:sldMkLst>
          <pc:docMk/>
          <pc:sldMk cId="1363194611" sldId="4132"/>
        </pc:sldMkLst>
        <pc:spChg chg="mod">
          <ac:chgData name="Ryterski Finn (HNE US-MI-PB-BO)" userId="efff052d-68b9-4e8d-b65b-45dff653056d" providerId="ADAL" clId="{870BDC5B-2E94-425D-B3D4-696163FAE54F}" dt="2025-04-07T08:29:38.642" v="25397" actId="20577"/>
          <ac:spMkLst>
            <pc:docMk/>
            <pc:sldMk cId="1363194611" sldId="4132"/>
            <ac:spMk id="2" creationId="{B4A7C721-509F-47E8-BE23-E19529987347}"/>
          </ac:spMkLst>
        </pc:spChg>
      </pc:sldChg>
      <pc:sldChg chg="addSp delSp modSp mod">
        <pc:chgData name="Ryterski Finn (HNE US-MI-PB-BO)" userId="efff052d-68b9-4e8d-b65b-45dff653056d" providerId="ADAL" clId="{870BDC5B-2E94-425D-B3D4-696163FAE54F}" dt="2025-04-09T07:36:39.305" v="46644"/>
        <pc:sldMkLst>
          <pc:docMk/>
          <pc:sldMk cId="979980158" sldId="4168"/>
        </pc:sldMkLst>
        <pc:spChg chg="mod">
          <ac:chgData name="Ryterski Finn (HNE US-MI-PB-BO)" userId="efff052d-68b9-4e8d-b65b-45dff653056d" providerId="ADAL" clId="{870BDC5B-2E94-425D-B3D4-696163FAE54F}" dt="2025-04-09T07:36:39.242" v="46585"/>
          <ac:spMkLst>
            <pc:docMk/>
            <pc:sldMk cId="979980158" sldId="4168"/>
            <ac:spMk id="2" creationId="{927AFBF3-B890-39FC-7D01-3850DBC5346A}"/>
          </ac:spMkLst>
        </pc:spChg>
        <pc:spChg chg="mod ord">
          <ac:chgData name="Ryterski Finn (HNE US-MI-PB-BO)" userId="efff052d-68b9-4e8d-b65b-45dff653056d" providerId="ADAL" clId="{870BDC5B-2E94-425D-B3D4-696163FAE54F}" dt="2025-04-08T14:55:44.137" v="41439"/>
          <ac:spMkLst>
            <pc:docMk/>
            <pc:sldMk cId="979980158" sldId="4168"/>
            <ac:spMk id="3" creationId="{00000000-0000-0000-0000-000000000000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6:21:26.590" v="7084"/>
          <ac:spMkLst>
            <pc:docMk/>
            <pc:sldMk cId="979980158" sldId="4168"/>
            <ac:spMk id="4" creationId="{25D295B3-4798-2425-27B1-ECC92E10008B}"/>
          </ac:spMkLst>
        </pc:spChg>
        <pc:spChg chg="add del mod modVis">
          <ac:chgData name="Ryterski Finn (HNE US-MI-PB-BO)" userId="efff052d-68b9-4e8d-b65b-45dff653056d" providerId="ADAL" clId="{870BDC5B-2E94-425D-B3D4-696163FAE54F}" dt="2025-04-08T14:53:52.621" v="37915"/>
          <ac:spMkLst>
            <pc:docMk/>
            <pc:sldMk cId="979980158" sldId="4168"/>
            <ac:spMk id="4" creationId="{5264706B-F96C-225C-42B7-367FD7324CF5}"/>
          </ac:spMkLst>
        </pc:spChg>
        <pc:spChg chg="mod ord">
          <ac:chgData name="Ryterski Finn (HNE US-MI-PB-BO)" userId="efff052d-68b9-4e8d-b65b-45dff653056d" providerId="ADAL" clId="{870BDC5B-2E94-425D-B3D4-696163FAE54F}" dt="2025-04-09T07:36:39.237" v="46583" actId="948"/>
          <ac:spMkLst>
            <pc:docMk/>
            <pc:sldMk cId="979980158" sldId="4168"/>
            <ac:spMk id="5" creationId="{00000000-0000-0000-0000-000000000000}"/>
          </ac:spMkLst>
        </pc:spChg>
        <pc:spChg chg="mod ord">
          <ac:chgData name="Ryterski Finn (HNE US-MI-PB-BO)" userId="efff052d-68b9-4e8d-b65b-45dff653056d" providerId="ADAL" clId="{870BDC5B-2E94-425D-B3D4-696163FAE54F}" dt="2025-04-09T07:36:39.289" v="46632" actId="948"/>
          <ac:spMkLst>
            <pc:docMk/>
            <pc:sldMk cId="979980158" sldId="4168"/>
            <ac:spMk id="7" creationId="{931829E6-CBEB-E30C-3DD2-BE3960D26579}"/>
          </ac:spMkLst>
        </pc:spChg>
        <pc:spChg chg="mod ord">
          <ac:chgData name="Ryterski Finn (HNE US-MI-PB-BO)" userId="efff052d-68b9-4e8d-b65b-45dff653056d" providerId="ADAL" clId="{870BDC5B-2E94-425D-B3D4-696163FAE54F}" dt="2025-04-09T07:36:39.289" v="46633" actId="948"/>
          <ac:spMkLst>
            <pc:docMk/>
            <pc:sldMk cId="979980158" sldId="4168"/>
            <ac:spMk id="8" creationId="{4E808844-7F94-077F-EA0C-1A6E4C2D7D0B}"/>
          </ac:spMkLst>
        </pc:spChg>
        <pc:spChg chg="mod ord">
          <ac:chgData name="Ryterski Finn (HNE US-MI-PB-BO)" userId="efff052d-68b9-4e8d-b65b-45dff653056d" providerId="ADAL" clId="{870BDC5B-2E94-425D-B3D4-696163FAE54F}" dt="2025-04-09T07:36:39.285" v="46627" actId="948"/>
          <ac:spMkLst>
            <pc:docMk/>
            <pc:sldMk cId="979980158" sldId="4168"/>
            <ac:spMk id="11" creationId="{B6AD4A21-2056-DCC3-4068-0216F7ED8D53}"/>
          </ac:spMkLst>
        </pc:spChg>
        <pc:spChg chg="mod ord">
          <ac:chgData name="Ryterski Finn (HNE US-MI-PB-BO)" userId="efff052d-68b9-4e8d-b65b-45dff653056d" providerId="ADAL" clId="{870BDC5B-2E94-425D-B3D4-696163FAE54F}" dt="2025-04-09T07:36:39.285" v="46628" actId="948"/>
          <ac:spMkLst>
            <pc:docMk/>
            <pc:sldMk cId="979980158" sldId="4168"/>
            <ac:spMk id="12" creationId="{69DBE4F3-4B50-21C4-350B-9F7CF8561CD6}"/>
          </ac:spMkLst>
        </pc:spChg>
        <pc:spChg chg="mod">
          <ac:chgData name="Ryterski Finn (HNE US-MI-PB-BO)" userId="efff052d-68b9-4e8d-b65b-45dff653056d" providerId="ADAL" clId="{870BDC5B-2E94-425D-B3D4-696163FAE54F}" dt="2025-04-09T07:36:39.251" v="46596"/>
          <ac:spMkLst>
            <pc:docMk/>
            <pc:sldMk cId="979980158" sldId="4168"/>
            <ac:spMk id="13" creationId="{EF16A16B-5ACA-220C-B9E2-FA6CC33BE0DB}"/>
          </ac:spMkLst>
        </pc:spChg>
        <pc:spChg chg="mod ord">
          <ac:chgData name="Ryterski Finn (HNE US-MI-PB-BO)" userId="efff052d-68b9-4e8d-b65b-45dff653056d" providerId="ADAL" clId="{870BDC5B-2E94-425D-B3D4-696163FAE54F}" dt="2025-04-09T07:36:39.286" v="46629" actId="948"/>
          <ac:spMkLst>
            <pc:docMk/>
            <pc:sldMk cId="979980158" sldId="4168"/>
            <ac:spMk id="15" creationId="{DC22A564-F56E-39B9-9E5D-B7DCEA4A090C}"/>
          </ac:spMkLst>
        </pc:spChg>
        <pc:spChg chg="mod ord">
          <ac:chgData name="Ryterski Finn (HNE US-MI-PB-BO)" userId="efff052d-68b9-4e8d-b65b-45dff653056d" providerId="ADAL" clId="{870BDC5B-2E94-425D-B3D4-696163FAE54F}" dt="2025-04-09T07:36:39.256" v="46600" actId="948"/>
          <ac:spMkLst>
            <pc:docMk/>
            <pc:sldMk cId="979980158" sldId="4168"/>
            <ac:spMk id="16" creationId="{353CC6B8-1FDB-4B3F-C475-A7FED45DCAA1}"/>
          </ac:spMkLst>
        </pc:spChg>
        <pc:spChg chg="mod ord">
          <ac:chgData name="Ryterski Finn (HNE US-MI-PB-BO)" userId="efff052d-68b9-4e8d-b65b-45dff653056d" providerId="ADAL" clId="{870BDC5B-2E94-425D-B3D4-696163FAE54F}" dt="2025-04-09T06:50:06.038" v="41981" actId="1076"/>
          <ac:spMkLst>
            <pc:docMk/>
            <pc:sldMk cId="979980158" sldId="4168"/>
            <ac:spMk id="17" creationId="{117368E7-8958-F3F1-4A4C-84E0AEEE9E4C}"/>
          </ac:spMkLst>
        </pc:spChg>
        <pc:spChg chg="add mod ord">
          <ac:chgData name="Ryterski Finn (HNE US-MI-PB-BO)" userId="efff052d-68b9-4e8d-b65b-45dff653056d" providerId="ADAL" clId="{870BDC5B-2E94-425D-B3D4-696163FAE54F}" dt="2025-04-09T07:36:39.293" v="46639" actId="948"/>
          <ac:spMkLst>
            <pc:docMk/>
            <pc:sldMk cId="979980158" sldId="4168"/>
            <ac:spMk id="18" creationId="{74EC9348-A384-0EDA-3ED0-D66CBE122ED4}"/>
          </ac:spMkLst>
        </pc:spChg>
        <pc:spChg chg="del mod ord">
          <ac:chgData name="Ryterski Finn (HNE US-MI-PB-BO)" userId="efff052d-68b9-4e8d-b65b-45dff653056d" providerId="ADAL" clId="{870BDC5B-2E94-425D-B3D4-696163FAE54F}" dt="2025-04-07T07:04:31.899" v="21080" actId="478"/>
          <ac:spMkLst>
            <pc:docMk/>
            <pc:sldMk cId="979980158" sldId="4168"/>
            <ac:spMk id="18" creationId="{CD5438B0-CE1A-A288-C39B-9BA9084F96EB}"/>
          </ac:spMkLst>
        </pc:spChg>
        <pc:spChg chg="mod ord">
          <ac:chgData name="Ryterski Finn (HNE US-MI-PB-BO)" userId="efff052d-68b9-4e8d-b65b-45dff653056d" providerId="ADAL" clId="{870BDC5B-2E94-425D-B3D4-696163FAE54F}" dt="2025-04-08T14:55:44.293" v="41603"/>
          <ac:spMkLst>
            <pc:docMk/>
            <pc:sldMk cId="979980158" sldId="4168"/>
            <ac:spMk id="19" creationId="{A32AD1AC-0E93-2C37-B8C8-61E2A1494370}"/>
          </ac:spMkLst>
        </pc:spChg>
        <pc:spChg chg="mod ord">
          <ac:chgData name="Ryterski Finn (HNE US-MI-PB-BO)" userId="efff052d-68b9-4e8d-b65b-45dff653056d" providerId="ADAL" clId="{870BDC5B-2E94-425D-B3D4-696163FAE54F}" dt="2025-04-09T07:36:39.287" v="46630" actId="948"/>
          <ac:spMkLst>
            <pc:docMk/>
            <pc:sldMk cId="979980158" sldId="4168"/>
            <ac:spMk id="22" creationId="{A4401BE4-F0F9-5143-37E7-39608438C197}"/>
          </ac:spMkLst>
        </pc:spChg>
        <pc:spChg chg="mod ord">
          <ac:chgData name="Ryterski Finn (HNE US-MI-PB-BO)" userId="efff052d-68b9-4e8d-b65b-45dff653056d" providerId="ADAL" clId="{870BDC5B-2E94-425D-B3D4-696163FAE54F}" dt="2025-04-09T07:36:39.288" v="46631" actId="948"/>
          <ac:spMkLst>
            <pc:docMk/>
            <pc:sldMk cId="979980158" sldId="4168"/>
            <ac:spMk id="23" creationId="{C7D75F3A-0654-BF61-E2E1-B0D540A96D9A}"/>
          </ac:spMkLst>
        </pc:spChg>
        <pc:spChg chg="mod">
          <ac:chgData name="Ryterski Finn (HNE US-MI-PB-BO)" userId="efff052d-68b9-4e8d-b65b-45dff653056d" providerId="ADAL" clId="{870BDC5B-2E94-425D-B3D4-696163FAE54F}" dt="2025-04-09T07:36:39.282" v="46623"/>
          <ac:spMkLst>
            <pc:docMk/>
            <pc:sldMk cId="979980158" sldId="4168"/>
            <ac:spMk id="24" creationId="{E457622A-19C9-A659-43A6-B5DC0B362FC0}"/>
          </ac:spMkLst>
        </pc:spChg>
        <pc:spChg chg="mod ord">
          <ac:chgData name="Ryterski Finn (HNE US-MI-PB-BO)" userId="efff052d-68b9-4e8d-b65b-45dff653056d" providerId="ADAL" clId="{870BDC5B-2E94-425D-B3D4-696163FAE54F}" dt="2025-04-09T06:50:08.410" v="41982" actId="1076"/>
          <ac:spMkLst>
            <pc:docMk/>
            <pc:sldMk cId="979980158" sldId="4168"/>
            <ac:spMk id="25" creationId="{75352383-E54A-50E3-2F65-F24F72936510}"/>
          </ac:spMkLst>
        </pc:spChg>
        <pc:spChg chg="add mod ord">
          <ac:chgData name="Ryterski Finn (HNE US-MI-PB-BO)" userId="efff052d-68b9-4e8d-b65b-45dff653056d" providerId="ADAL" clId="{870BDC5B-2E94-425D-B3D4-696163FAE54F}" dt="2025-04-09T07:36:39.294" v="46640" actId="948"/>
          <ac:spMkLst>
            <pc:docMk/>
            <pc:sldMk cId="979980158" sldId="4168"/>
            <ac:spMk id="26" creationId="{8D735B7A-2BA6-A2B4-E567-9E1FE997CEFF}"/>
          </ac:spMkLst>
        </pc:spChg>
        <pc:spChg chg="add mod">
          <ac:chgData name="Ryterski Finn (HNE US-MI-PB-BO)" userId="efff052d-68b9-4e8d-b65b-45dff653056d" providerId="ADAL" clId="{870BDC5B-2E94-425D-B3D4-696163FAE54F}" dt="2025-04-07T06:21:43.129" v="7841"/>
          <ac:spMkLst>
            <pc:docMk/>
            <pc:sldMk cId="979980158" sldId="4168"/>
            <ac:spMk id="26" creationId="{8F1D9F9B-8212-1449-C84C-3A9679C634D2}"/>
          </ac:spMkLst>
        </pc:spChg>
        <pc:spChg chg="mod">
          <ac:chgData name="Ryterski Finn (HNE US-MI-PB-BO)" userId="efff052d-68b9-4e8d-b65b-45dff653056d" providerId="ADAL" clId="{870BDC5B-2E94-425D-B3D4-696163FAE54F}" dt="2025-04-09T07:36:39.248" v="46592"/>
          <ac:spMkLst>
            <pc:docMk/>
            <pc:sldMk cId="979980158" sldId="4168"/>
            <ac:spMk id="29" creationId="{3DDB3BDE-0BDA-19EB-B30A-B8D2513F2EFA}"/>
          </ac:spMkLst>
        </pc:spChg>
        <pc:spChg chg="mod ord">
          <ac:chgData name="Ryterski Finn (HNE US-MI-PB-BO)" userId="efff052d-68b9-4e8d-b65b-45dff653056d" providerId="ADAL" clId="{870BDC5B-2E94-425D-B3D4-696163FAE54F}" dt="2025-04-08T14:55:44.296" v="41605"/>
          <ac:spMkLst>
            <pc:docMk/>
            <pc:sldMk cId="979980158" sldId="4168"/>
            <ac:spMk id="30" creationId="{FC169C8C-69C5-6814-013E-6C2F3E52A355}"/>
          </ac:spMkLst>
        </pc:spChg>
        <pc:spChg chg="mod ord">
          <ac:chgData name="Ryterski Finn (HNE US-MI-PB-BO)" userId="efff052d-68b9-4e8d-b65b-45dff653056d" providerId="ADAL" clId="{870BDC5B-2E94-425D-B3D4-696163FAE54F}" dt="2025-04-09T07:36:39.258" v="46602" actId="948"/>
          <ac:spMkLst>
            <pc:docMk/>
            <pc:sldMk cId="979980158" sldId="4168"/>
            <ac:spMk id="33" creationId="{78BDEC51-4A4A-40AA-90EC-CD06274F1FBA}"/>
          </ac:spMkLst>
        </pc:spChg>
        <pc:spChg chg="mod ord">
          <ac:chgData name="Ryterski Finn (HNE US-MI-PB-BO)" userId="efff052d-68b9-4e8d-b65b-45dff653056d" providerId="ADAL" clId="{870BDC5B-2E94-425D-B3D4-696163FAE54F}" dt="2025-04-09T07:36:39.259" v="46604" actId="948"/>
          <ac:spMkLst>
            <pc:docMk/>
            <pc:sldMk cId="979980158" sldId="4168"/>
            <ac:spMk id="34" creationId="{7EB119C4-431C-D51B-860F-3452EE115E51}"/>
          </ac:spMkLst>
        </pc:spChg>
        <pc:spChg chg="add mod ord">
          <ac:chgData name="Ryterski Finn (HNE US-MI-PB-BO)" userId="efff052d-68b9-4e8d-b65b-45dff653056d" providerId="ADAL" clId="{870BDC5B-2E94-425D-B3D4-696163FAE54F}" dt="2025-04-09T07:36:39.294" v="46641" actId="948"/>
          <ac:spMkLst>
            <pc:docMk/>
            <pc:sldMk cId="979980158" sldId="4168"/>
            <ac:spMk id="35" creationId="{72CA5FB2-C141-79E4-8F6A-5B3A1BC7FAAC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6:21:43.129" v="7841"/>
          <ac:spMkLst>
            <pc:docMk/>
            <pc:sldMk cId="979980158" sldId="4168"/>
            <ac:spMk id="35" creationId="{9D981F54-6B7D-0948-3FE4-8C0D7C1706DC}"/>
          </ac:spMkLst>
        </pc:spChg>
        <pc:spChg chg="mod ord">
          <ac:chgData name="Ryterski Finn (HNE US-MI-PB-BO)" userId="efff052d-68b9-4e8d-b65b-45dff653056d" providerId="ADAL" clId="{870BDC5B-2E94-425D-B3D4-696163FAE54F}" dt="2025-04-09T07:36:39.260" v="46605" actId="948"/>
          <ac:spMkLst>
            <pc:docMk/>
            <pc:sldMk cId="979980158" sldId="4168"/>
            <ac:spMk id="36" creationId="{99F2DD3A-2882-05AF-10C8-9EC4CCF1E72F}"/>
          </ac:spMkLst>
        </pc:spChg>
        <pc:spChg chg="del mod ord">
          <ac:chgData name="Ryterski Finn (HNE US-MI-PB-BO)" userId="efff052d-68b9-4e8d-b65b-45dff653056d" providerId="ADAL" clId="{870BDC5B-2E94-425D-B3D4-696163FAE54F}" dt="2025-04-07T08:53:22.710" v="31707" actId="478"/>
          <ac:spMkLst>
            <pc:docMk/>
            <pc:sldMk cId="979980158" sldId="4168"/>
            <ac:spMk id="37" creationId="{08AAA2DB-E551-F6F4-7B57-756BD4FF8242}"/>
          </ac:spMkLst>
        </pc:spChg>
        <pc:spChg chg="add mod ord">
          <ac:chgData name="Ryterski Finn (HNE US-MI-PB-BO)" userId="efff052d-68b9-4e8d-b65b-45dff653056d" providerId="ADAL" clId="{870BDC5B-2E94-425D-B3D4-696163FAE54F}" dt="2025-04-09T07:36:39.295" v="46642" actId="948"/>
          <ac:spMkLst>
            <pc:docMk/>
            <pc:sldMk cId="979980158" sldId="4168"/>
            <ac:spMk id="37" creationId="{8415B934-6139-79F1-BB59-0BE51228F5AE}"/>
          </ac:spMkLst>
        </pc:spChg>
        <pc:spChg chg="mod ord">
          <ac:chgData name="Ryterski Finn (HNE US-MI-PB-BO)" userId="efff052d-68b9-4e8d-b65b-45dff653056d" providerId="ADAL" clId="{870BDC5B-2E94-425D-B3D4-696163FAE54F}" dt="2025-04-09T07:36:39.283" v="46624" actId="948"/>
          <ac:spMkLst>
            <pc:docMk/>
            <pc:sldMk cId="979980158" sldId="4168"/>
            <ac:spMk id="38" creationId="{0EEC837E-9490-EC81-F64B-5AA8B6EDEA07}"/>
          </ac:spMkLst>
        </pc:spChg>
        <pc:spChg chg="mod ord">
          <ac:chgData name="Ryterski Finn (HNE US-MI-PB-BO)" userId="efff052d-68b9-4e8d-b65b-45dff653056d" providerId="ADAL" clId="{870BDC5B-2E94-425D-B3D4-696163FAE54F}" dt="2025-04-09T07:36:39.283" v="46625" actId="948"/>
          <ac:spMkLst>
            <pc:docMk/>
            <pc:sldMk cId="979980158" sldId="4168"/>
            <ac:spMk id="39" creationId="{3997B5D9-6C83-BF0B-BF4D-3C290C8B43BE}"/>
          </ac:spMkLst>
        </pc:spChg>
        <pc:spChg chg="mod ord">
          <ac:chgData name="Ryterski Finn (HNE US-MI-PB-BO)" userId="efff052d-68b9-4e8d-b65b-45dff653056d" providerId="ADAL" clId="{870BDC5B-2E94-425D-B3D4-696163FAE54F}" dt="2025-04-09T07:36:39.284" v="46626" actId="948"/>
          <ac:spMkLst>
            <pc:docMk/>
            <pc:sldMk cId="979980158" sldId="4168"/>
            <ac:spMk id="40" creationId="{E594B54D-E0F4-1494-EFE9-748A25EFAB85}"/>
          </ac:spMkLst>
        </pc:spChg>
        <pc:spChg chg="mod ord">
          <ac:chgData name="Ryterski Finn (HNE US-MI-PB-BO)" userId="efff052d-68b9-4e8d-b65b-45dff653056d" providerId="ADAL" clId="{870BDC5B-2E94-425D-B3D4-696163FAE54F}" dt="2025-04-09T06:50:14.230" v="41983" actId="1076"/>
          <ac:spMkLst>
            <pc:docMk/>
            <pc:sldMk cId="979980158" sldId="4168"/>
            <ac:spMk id="41" creationId="{FC3A7B94-0035-6051-FD9F-D4DC28BB6DDB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6:21:56.800" v="8257"/>
          <ac:spMkLst>
            <pc:docMk/>
            <pc:sldMk cId="979980158" sldId="4168"/>
            <ac:spMk id="42" creationId="{81834999-5290-72D0-613A-17809CB3194A}"/>
          </ac:spMkLst>
        </pc:spChg>
        <pc:spChg chg="add mod ord">
          <ac:chgData name="Ryterski Finn (HNE US-MI-PB-BO)" userId="efff052d-68b9-4e8d-b65b-45dff653056d" providerId="ADAL" clId="{870BDC5B-2E94-425D-B3D4-696163FAE54F}" dt="2025-04-09T07:36:39.291" v="46636" actId="948"/>
          <ac:spMkLst>
            <pc:docMk/>
            <pc:sldMk cId="979980158" sldId="4168"/>
            <ac:spMk id="44" creationId="{8C266AA7-88F7-10D6-7686-40ADCF3DFDF2}"/>
          </ac:spMkLst>
        </pc:spChg>
        <pc:spChg chg="mod ord">
          <ac:chgData name="Ryterski Finn (HNE US-MI-PB-BO)" userId="efff052d-68b9-4e8d-b65b-45dff653056d" providerId="ADAL" clId="{870BDC5B-2E94-425D-B3D4-696163FAE54F}" dt="2025-04-09T07:36:39.257" v="46601" actId="948"/>
          <ac:spMkLst>
            <pc:docMk/>
            <pc:sldMk cId="979980158" sldId="4168"/>
            <ac:spMk id="45" creationId="{6AFA983B-2548-C876-AD75-0B29F4C92185}"/>
          </ac:spMkLst>
        </pc:spChg>
        <pc:spChg chg="mod">
          <ac:chgData name="Ryterski Finn (HNE US-MI-PB-BO)" userId="efff052d-68b9-4e8d-b65b-45dff653056d" providerId="ADAL" clId="{870BDC5B-2E94-425D-B3D4-696163FAE54F}" dt="2025-04-09T07:36:39.250" v="46594"/>
          <ac:spMkLst>
            <pc:docMk/>
            <pc:sldMk cId="979980158" sldId="4168"/>
            <ac:spMk id="46" creationId="{1EAF9C6C-657B-66FA-B27A-DE20D714CFD8}"/>
          </ac:spMkLst>
        </pc:spChg>
        <pc:spChg chg="mod">
          <ac:chgData name="Ryterski Finn (HNE US-MI-PB-BO)" userId="efff052d-68b9-4e8d-b65b-45dff653056d" providerId="ADAL" clId="{870BDC5B-2E94-425D-B3D4-696163FAE54F}" dt="2025-04-09T07:36:39.281" v="46622"/>
          <ac:spMkLst>
            <pc:docMk/>
            <pc:sldMk cId="979980158" sldId="4168"/>
            <ac:spMk id="47" creationId="{F683550A-03E9-A71F-7F21-76382C47594E}"/>
          </ac:spMkLst>
        </pc:spChg>
        <pc:spChg chg="mod ord">
          <ac:chgData name="Ryterski Finn (HNE US-MI-PB-BO)" userId="efff052d-68b9-4e8d-b65b-45dff653056d" providerId="ADAL" clId="{870BDC5B-2E94-425D-B3D4-696163FAE54F}" dt="2025-04-08T14:55:44.299" v="41607"/>
          <ac:spMkLst>
            <pc:docMk/>
            <pc:sldMk cId="979980158" sldId="4168"/>
            <ac:spMk id="48" creationId="{D7A5E316-66AA-B90E-4070-0A9A05EAF4BB}"/>
          </ac:spMkLst>
        </pc:spChg>
        <pc:spChg chg="mod ord">
          <ac:chgData name="Ryterski Finn (HNE US-MI-PB-BO)" userId="efff052d-68b9-4e8d-b65b-45dff653056d" providerId="ADAL" clId="{870BDC5B-2E94-425D-B3D4-696163FAE54F}" dt="2025-04-08T14:55:44.291" v="41601"/>
          <ac:spMkLst>
            <pc:docMk/>
            <pc:sldMk cId="979980158" sldId="4168"/>
            <ac:spMk id="50" creationId="{043CC57B-4427-1A11-84B0-DD05074FE343}"/>
          </ac:spMkLst>
        </pc:spChg>
        <pc:spChg chg="mod ord">
          <ac:chgData name="Ryterski Finn (HNE US-MI-PB-BO)" userId="efff052d-68b9-4e8d-b65b-45dff653056d" providerId="ADAL" clId="{870BDC5B-2E94-425D-B3D4-696163FAE54F}" dt="2025-04-09T07:36:39.261" v="46606" actId="948"/>
          <ac:spMkLst>
            <pc:docMk/>
            <pc:sldMk cId="979980158" sldId="4168"/>
            <ac:spMk id="51" creationId="{295FB1F5-E4CD-615A-B3F0-1DDF75592CDE}"/>
          </ac:spMkLst>
        </pc:spChg>
        <pc:spChg chg="mod">
          <ac:chgData name="Ryterski Finn (HNE US-MI-PB-BO)" userId="efff052d-68b9-4e8d-b65b-45dff653056d" providerId="ADAL" clId="{870BDC5B-2E94-425D-B3D4-696163FAE54F}" dt="2025-04-09T07:36:39.243" v="46586"/>
          <ac:spMkLst>
            <pc:docMk/>
            <pc:sldMk cId="979980158" sldId="4168"/>
            <ac:spMk id="52" creationId="{D62434B2-ED6E-412F-F8F7-7EE365255B32}"/>
          </ac:spMkLst>
        </pc:spChg>
        <pc:spChg chg="del mod ord">
          <ac:chgData name="Ryterski Finn (HNE US-MI-PB-BO)" userId="efff052d-68b9-4e8d-b65b-45dff653056d" providerId="ADAL" clId="{870BDC5B-2E94-425D-B3D4-696163FAE54F}" dt="2025-04-07T06:24:30.030" v="9767" actId="478"/>
          <ac:spMkLst>
            <pc:docMk/>
            <pc:sldMk cId="979980158" sldId="4168"/>
            <ac:spMk id="53" creationId="{729FEB89-AF9F-BA0F-17F2-5E6167F28CB1}"/>
          </ac:spMkLst>
        </pc:spChg>
        <pc:spChg chg="mod ord">
          <ac:chgData name="Ryterski Finn (HNE US-MI-PB-BO)" userId="efff052d-68b9-4e8d-b65b-45dff653056d" providerId="ADAL" clId="{870BDC5B-2E94-425D-B3D4-696163FAE54F}" dt="2025-04-09T07:36:39.290" v="46634" actId="948"/>
          <ac:spMkLst>
            <pc:docMk/>
            <pc:sldMk cId="979980158" sldId="4168"/>
            <ac:spMk id="54" creationId="{A6A9DBB9-E008-A143-E765-D3B4A56F64DA}"/>
          </ac:spMkLst>
        </pc:spChg>
        <pc:spChg chg="mod ord">
          <ac:chgData name="Ryterski Finn (HNE US-MI-PB-BO)" userId="efff052d-68b9-4e8d-b65b-45dff653056d" providerId="ADAL" clId="{870BDC5B-2E94-425D-B3D4-696163FAE54F}" dt="2025-04-08T14:55:44.146" v="41459"/>
          <ac:spMkLst>
            <pc:docMk/>
            <pc:sldMk cId="979980158" sldId="4168"/>
            <ac:spMk id="55" creationId="{24D71C77-66BF-0591-D7B6-7289CC94DC4D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6:22:02.797" v="8807"/>
          <ac:spMkLst>
            <pc:docMk/>
            <pc:sldMk cId="979980158" sldId="4168"/>
            <ac:spMk id="56" creationId="{009BEC80-A655-8813-99C3-A4786C56B855}"/>
          </ac:spMkLst>
        </pc:spChg>
        <pc:spChg chg="mod ord">
          <ac:chgData name="Ryterski Finn (HNE US-MI-PB-BO)" userId="efff052d-68b9-4e8d-b65b-45dff653056d" providerId="ADAL" clId="{870BDC5B-2E94-425D-B3D4-696163FAE54F}" dt="2025-04-09T07:36:39.291" v="46635" actId="948"/>
          <ac:spMkLst>
            <pc:docMk/>
            <pc:sldMk cId="979980158" sldId="4168"/>
            <ac:spMk id="57" creationId="{0143DDC0-945D-55E4-83E2-C3CAF47BF984}"/>
          </ac:spMkLst>
        </pc:spChg>
        <pc:spChg chg="mod">
          <ac:chgData name="Ryterski Finn (HNE US-MI-PB-BO)" userId="efff052d-68b9-4e8d-b65b-45dff653056d" providerId="ADAL" clId="{870BDC5B-2E94-425D-B3D4-696163FAE54F}" dt="2025-04-09T07:36:39.249" v="46593"/>
          <ac:spMkLst>
            <pc:docMk/>
            <pc:sldMk cId="979980158" sldId="4168"/>
            <ac:spMk id="59" creationId="{A2F35598-A267-973A-0512-9B59BA84F554}"/>
          </ac:spMkLst>
        </pc:spChg>
        <pc:spChg chg="mod ord">
          <ac:chgData name="Ryterski Finn (HNE US-MI-PB-BO)" userId="efff052d-68b9-4e8d-b65b-45dff653056d" providerId="ADAL" clId="{870BDC5B-2E94-425D-B3D4-696163FAE54F}" dt="2025-04-09T07:36:39.280" v="46621"/>
          <ac:spMkLst>
            <pc:docMk/>
            <pc:sldMk cId="979980158" sldId="4168"/>
            <ac:spMk id="61" creationId="{1F3C6C20-CC64-D82E-B6FD-65F80EC5D451}"/>
          </ac:spMkLst>
        </pc:spChg>
        <pc:spChg chg="mod ord">
          <ac:chgData name="Ryterski Finn (HNE US-MI-PB-BO)" userId="efff052d-68b9-4e8d-b65b-45dff653056d" providerId="ADAL" clId="{870BDC5B-2E94-425D-B3D4-696163FAE54F}" dt="2025-04-08T14:55:44.145" v="41455"/>
          <ac:spMkLst>
            <pc:docMk/>
            <pc:sldMk cId="979980158" sldId="4168"/>
            <ac:spMk id="62" creationId="{649DDDE2-F8AD-8F2B-BDA8-9FE456C8BF29}"/>
          </ac:spMkLst>
        </pc:spChg>
        <pc:spChg chg="mod ord">
          <ac:chgData name="Ryterski Finn (HNE US-MI-PB-BO)" userId="efff052d-68b9-4e8d-b65b-45dff653056d" providerId="ADAL" clId="{870BDC5B-2E94-425D-B3D4-696163FAE54F}" dt="2025-04-09T07:36:39.256" v="46599" actId="948"/>
          <ac:spMkLst>
            <pc:docMk/>
            <pc:sldMk cId="979980158" sldId="4168"/>
            <ac:spMk id="63" creationId="{4DDCC811-0425-F1C1-AD1E-A4BD6C1F2F76}"/>
          </ac:spMkLst>
        </pc:spChg>
        <pc:spChg chg="mod ord">
          <ac:chgData name="Ryterski Finn (HNE US-MI-PB-BO)" userId="efff052d-68b9-4e8d-b65b-45dff653056d" providerId="ADAL" clId="{870BDC5B-2E94-425D-B3D4-696163FAE54F}" dt="2025-04-09T07:36:39.264" v="46611" actId="948"/>
          <ac:spMkLst>
            <pc:docMk/>
            <pc:sldMk cId="979980158" sldId="4168"/>
            <ac:spMk id="64" creationId="{A902EE36-3B6D-D402-695B-4C67EB711DA1}"/>
          </ac:spMkLst>
        </pc:spChg>
        <pc:spChg chg="mod ord">
          <ac:chgData name="Ryterski Finn (HNE US-MI-PB-BO)" userId="efff052d-68b9-4e8d-b65b-45dff653056d" providerId="ADAL" clId="{870BDC5B-2E94-425D-B3D4-696163FAE54F}" dt="2025-04-09T06:50:57.631" v="42298" actId="1076"/>
          <ac:spMkLst>
            <pc:docMk/>
            <pc:sldMk cId="979980158" sldId="4168"/>
            <ac:spMk id="65" creationId="{47CADDEE-4D0F-465C-19C5-C0EBB236082F}"/>
          </ac:spMkLst>
        </pc:spChg>
        <pc:spChg chg="mod ord">
          <ac:chgData name="Ryterski Finn (HNE US-MI-PB-BO)" userId="efff052d-68b9-4e8d-b65b-45dff653056d" providerId="ADAL" clId="{870BDC5B-2E94-425D-B3D4-696163FAE54F}" dt="2025-04-09T07:36:39.266" v="46614" actId="948"/>
          <ac:spMkLst>
            <pc:docMk/>
            <pc:sldMk cId="979980158" sldId="4168"/>
            <ac:spMk id="66" creationId="{82FE2EF8-3485-075A-DB67-A9913B5939ED}"/>
          </ac:spMkLst>
        </pc:spChg>
        <pc:spChg chg="mod ord">
          <ac:chgData name="Ryterski Finn (HNE US-MI-PB-BO)" userId="efff052d-68b9-4e8d-b65b-45dff653056d" providerId="ADAL" clId="{870BDC5B-2E94-425D-B3D4-696163FAE54F}" dt="2025-04-09T06:50:47.586" v="42268"/>
          <ac:spMkLst>
            <pc:docMk/>
            <pc:sldMk cId="979980158" sldId="4168"/>
            <ac:spMk id="67" creationId="{31B42ED2-8838-8B68-FA08-00E6FCF4155C}"/>
          </ac:spMkLst>
        </pc:spChg>
        <pc:spChg chg="mod">
          <ac:chgData name="Ryterski Finn (HNE US-MI-PB-BO)" userId="efff052d-68b9-4e8d-b65b-45dff653056d" providerId="ADAL" clId="{870BDC5B-2E94-425D-B3D4-696163FAE54F}" dt="2025-04-09T07:36:39.244" v="46587"/>
          <ac:spMkLst>
            <pc:docMk/>
            <pc:sldMk cId="979980158" sldId="4168"/>
            <ac:spMk id="68" creationId="{37993E50-0E51-5DE0-6D7D-4816BD8AE857}"/>
          </ac:spMkLst>
        </pc:spChg>
        <pc:spChg chg="add mod ord">
          <ac:chgData name="Ryterski Finn (HNE US-MI-PB-BO)" userId="efff052d-68b9-4e8d-b65b-45dff653056d" providerId="ADAL" clId="{870BDC5B-2E94-425D-B3D4-696163FAE54F}" dt="2025-04-09T07:36:39.292" v="46637" actId="948"/>
          <ac:spMkLst>
            <pc:docMk/>
            <pc:sldMk cId="979980158" sldId="4168"/>
            <ac:spMk id="69" creationId="{5274F096-B10E-729F-E2C5-30733DCA8B42}"/>
          </ac:spMkLst>
        </pc:spChg>
        <pc:spChg chg="add del mod modVis">
          <ac:chgData name="Ryterski Finn (HNE US-MI-PB-BO)" userId="efff052d-68b9-4e8d-b65b-45dff653056d" providerId="ADAL" clId="{870BDC5B-2E94-425D-B3D4-696163FAE54F}" dt="2025-04-08T14:55:44.334" v="41635"/>
          <ac:spMkLst>
            <pc:docMk/>
            <pc:sldMk cId="979980158" sldId="4168"/>
            <ac:spMk id="71" creationId="{2231368B-F1AA-7657-0B85-0AEF4B530796}"/>
          </ac:spMkLst>
        </pc:spChg>
        <pc:spChg chg="mod ord">
          <ac:chgData name="Ryterski Finn (HNE US-MI-PB-BO)" userId="efff052d-68b9-4e8d-b65b-45dff653056d" providerId="ADAL" clId="{870BDC5B-2E94-425D-B3D4-696163FAE54F}" dt="2025-04-09T07:36:39.266" v="46615" actId="948"/>
          <ac:spMkLst>
            <pc:docMk/>
            <pc:sldMk cId="979980158" sldId="4168"/>
            <ac:spMk id="72" creationId="{71041D27-872E-CA69-C32A-36D37BAD4029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6:24:16.344" v="9710"/>
          <ac:spMkLst>
            <pc:docMk/>
            <pc:sldMk cId="979980158" sldId="4168"/>
            <ac:spMk id="74" creationId="{2882AA40-5117-B8EB-BE9A-069FF5DB58A6}"/>
          </ac:spMkLst>
        </pc:spChg>
        <pc:spChg chg="del mod ord">
          <ac:chgData name="Ryterski Finn (HNE US-MI-PB-BO)" userId="efff052d-68b9-4e8d-b65b-45dff653056d" providerId="ADAL" clId="{870BDC5B-2E94-425D-B3D4-696163FAE54F}" dt="2025-04-07T08:53:21.453" v="31706" actId="478"/>
          <ac:spMkLst>
            <pc:docMk/>
            <pc:sldMk cId="979980158" sldId="4168"/>
            <ac:spMk id="78" creationId="{A6DF449A-1500-C618-F68C-0A9603278DF9}"/>
          </ac:spMkLst>
        </pc:spChg>
        <pc:spChg chg="mod ord">
          <ac:chgData name="Ryterski Finn (HNE US-MI-PB-BO)" userId="efff052d-68b9-4e8d-b65b-45dff653056d" providerId="ADAL" clId="{870BDC5B-2E94-425D-B3D4-696163FAE54F}" dt="2025-04-09T07:36:39.259" v="46603" actId="948"/>
          <ac:spMkLst>
            <pc:docMk/>
            <pc:sldMk cId="979980158" sldId="4168"/>
            <ac:spMk id="79" creationId="{E6A4479B-16F0-1933-1F7C-FE9C309B87D3}"/>
          </ac:spMkLst>
        </pc:spChg>
        <pc:spChg chg="mod ord">
          <ac:chgData name="Ryterski Finn (HNE US-MI-PB-BO)" userId="efff052d-68b9-4e8d-b65b-45dff653056d" providerId="ADAL" clId="{870BDC5B-2E94-425D-B3D4-696163FAE54F}" dt="2025-04-08T14:55:44.144" v="41453"/>
          <ac:spMkLst>
            <pc:docMk/>
            <pc:sldMk cId="979980158" sldId="4168"/>
            <ac:spMk id="80" creationId="{8482E6F4-882F-B264-B444-E7B66D9A71DE}"/>
          </ac:spMkLst>
        </pc:spChg>
        <pc:spChg chg="mod ord">
          <ac:chgData name="Ryterski Finn (HNE US-MI-PB-BO)" userId="efff052d-68b9-4e8d-b65b-45dff653056d" providerId="ADAL" clId="{870BDC5B-2E94-425D-B3D4-696163FAE54F}" dt="2025-04-09T07:36:39.262" v="46609" actId="948"/>
          <ac:spMkLst>
            <pc:docMk/>
            <pc:sldMk cId="979980158" sldId="4168"/>
            <ac:spMk id="81" creationId="{F9BD77D2-6E43-A94A-F955-ECF74D392441}"/>
          </ac:spMkLst>
        </pc:spChg>
        <pc:spChg chg="mod ord">
          <ac:chgData name="Ryterski Finn (HNE US-MI-PB-BO)" userId="efff052d-68b9-4e8d-b65b-45dff653056d" providerId="ADAL" clId="{870BDC5B-2E94-425D-B3D4-696163FAE54F}" dt="2025-04-08T14:55:44.143" v="41451"/>
          <ac:spMkLst>
            <pc:docMk/>
            <pc:sldMk cId="979980158" sldId="4168"/>
            <ac:spMk id="82" creationId="{947D39DA-FB8B-8A63-7492-4358AAF8B119}"/>
          </ac:spMkLst>
        </pc:spChg>
        <pc:spChg chg="mod ord">
          <ac:chgData name="Ryterski Finn (HNE US-MI-PB-BO)" userId="efff052d-68b9-4e8d-b65b-45dff653056d" providerId="ADAL" clId="{870BDC5B-2E94-425D-B3D4-696163FAE54F}" dt="2025-04-09T07:36:39.267" v="46616" actId="948"/>
          <ac:spMkLst>
            <pc:docMk/>
            <pc:sldMk cId="979980158" sldId="4168"/>
            <ac:spMk id="83" creationId="{D26D40A3-925F-2FEE-49DF-F8DB573F986C}"/>
          </ac:spMkLst>
        </pc:spChg>
        <pc:spChg chg="mod">
          <ac:chgData name="Ryterski Finn (HNE US-MI-PB-BO)" userId="efff052d-68b9-4e8d-b65b-45dff653056d" providerId="ADAL" clId="{870BDC5B-2E94-425D-B3D4-696163FAE54F}" dt="2025-04-09T07:36:39.247" v="46591"/>
          <ac:spMkLst>
            <pc:docMk/>
            <pc:sldMk cId="979980158" sldId="4168"/>
            <ac:spMk id="85" creationId="{14BE288E-C40B-04FD-D573-953B8E7D07A5}"/>
          </ac:spMkLst>
        </pc:spChg>
        <pc:spChg chg="add mod ord">
          <ac:chgData name="Ryterski Finn (HNE US-MI-PB-BO)" userId="efff052d-68b9-4e8d-b65b-45dff653056d" providerId="ADAL" clId="{870BDC5B-2E94-425D-B3D4-696163FAE54F}" dt="2025-04-09T07:36:39.292" v="46638" actId="948"/>
          <ac:spMkLst>
            <pc:docMk/>
            <pc:sldMk cId="979980158" sldId="4168"/>
            <ac:spMk id="86" creationId="{D9FA85AC-0E88-6823-1570-B40F6AB3D595}"/>
          </ac:spMkLst>
        </pc:spChg>
        <pc:spChg chg="mod ord">
          <ac:chgData name="Ryterski Finn (HNE US-MI-PB-BO)" userId="efff052d-68b9-4e8d-b65b-45dff653056d" providerId="ADAL" clId="{870BDC5B-2E94-425D-B3D4-696163FAE54F}" dt="2025-04-09T07:36:39.262" v="46608" actId="948"/>
          <ac:spMkLst>
            <pc:docMk/>
            <pc:sldMk cId="979980158" sldId="4168"/>
            <ac:spMk id="87" creationId="{BF7C7C4B-C3AE-B303-4C10-DA91ED3DBEFC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6:25:46.013" v="10530"/>
          <ac:spMkLst>
            <pc:docMk/>
            <pc:sldMk cId="979980158" sldId="4168"/>
            <ac:spMk id="88" creationId="{7685576C-1B47-7379-D77D-0C5FB242BBEF}"/>
          </ac:spMkLst>
        </pc:spChg>
        <pc:spChg chg="mod ord">
          <ac:chgData name="Ryterski Finn (HNE US-MI-PB-BO)" userId="efff052d-68b9-4e8d-b65b-45dff653056d" providerId="ADAL" clId="{870BDC5B-2E94-425D-B3D4-696163FAE54F}" dt="2025-04-09T07:36:39.261" v="46607" actId="948"/>
          <ac:spMkLst>
            <pc:docMk/>
            <pc:sldMk cId="979980158" sldId="4168"/>
            <ac:spMk id="89" creationId="{B1B614AC-C0CD-2F7C-152D-324B90330C17}"/>
          </ac:spMkLst>
        </pc:spChg>
        <pc:spChg chg="add mod ord">
          <ac:chgData name="Ryterski Finn (HNE US-MI-PB-BO)" userId="efff052d-68b9-4e8d-b65b-45dff653056d" providerId="ADAL" clId="{870BDC5B-2E94-425D-B3D4-696163FAE54F}" dt="2025-04-09T06:50:04.171" v="41980" actId="1076"/>
          <ac:spMkLst>
            <pc:docMk/>
            <pc:sldMk cId="979980158" sldId="4168"/>
            <ac:spMk id="92" creationId="{FD762863-0C81-04EF-00DD-0AFCF38DEDCC}"/>
          </ac:spMkLst>
        </pc:spChg>
        <pc:spChg chg="mod ord">
          <ac:chgData name="Ryterski Finn (HNE US-MI-PB-BO)" userId="efff052d-68b9-4e8d-b65b-45dff653056d" providerId="ADAL" clId="{870BDC5B-2E94-425D-B3D4-696163FAE54F}" dt="2025-04-08T14:55:44.151" v="41467"/>
          <ac:spMkLst>
            <pc:docMk/>
            <pc:sldMk cId="979980158" sldId="4168"/>
            <ac:spMk id="93" creationId="{2A4AB706-C43A-288B-A5E1-2AD0069CB025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6:34:45.196" v="11863"/>
          <ac:spMkLst>
            <pc:docMk/>
            <pc:sldMk cId="979980158" sldId="4168"/>
            <ac:spMk id="96" creationId="{84B1A28B-1126-328E-92B0-17269D1B4E8A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6:45:36.477" v="13450"/>
          <ac:spMkLst>
            <pc:docMk/>
            <pc:sldMk cId="979980158" sldId="4168"/>
            <ac:spMk id="97" creationId="{D3F86B41-40C8-41F7-0FA3-F37A0248EA7E}"/>
          </ac:spMkLst>
        </pc:spChg>
        <pc:spChg chg="add mod ord">
          <ac:chgData name="Ryterski Finn (HNE US-MI-PB-BO)" userId="efff052d-68b9-4e8d-b65b-45dff653056d" providerId="ADAL" clId="{870BDC5B-2E94-425D-B3D4-696163FAE54F}" dt="2025-04-09T07:36:39.265" v="46612" actId="948"/>
          <ac:spMkLst>
            <pc:docMk/>
            <pc:sldMk cId="979980158" sldId="4168"/>
            <ac:spMk id="98" creationId="{E384D771-4CB5-040F-24DC-3613708FCA14}"/>
          </ac:spMkLst>
        </pc:spChg>
        <pc:spChg chg="mod ord">
          <ac:chgData name="Ryterski Finn (HNE US-MI-PB-BO)" userId="efff052d-68b9-4e8d-b65b-45dff653056d" providerId="ADAL" clId="{870BDC5B-2E94-425D-B3D4-696163FAE54F}" dt="2025-04-08T14:55:44.139" v="41443"/>
          <ac:spMkLst>
            <pc:docMk/>
            <pc:sldMk cId="979980158" sldId="4168"/>
            <ac:spMk id="99" creationId="{0CAB23EC-5F8E-9D98-DB08-9C3F3C90AC2D}"/>
          </ac:spMkLst>
        </pc:spChg>
        <pc:spChg chg="mod">
          <ac:chgData name="Ryterski Finn (HNE US-MI-PB-BO)" userId="efff052d-68b9-4e8d-b65b-45dff653056d" providerId="ADAL" clId="{870BDC5B-2E94-425D-B3D4-696163FAE54F}" dt="2025-04-09T07:36:39.239" v="46584"/>
          <ac:spMkLst>
            <pc:docMk/>
            <pc:sldMk cId="979980158" sldId="4168"/>
            <ac:spMk id="100" creationId="{C1862891-CCC8-958E-E570-491EFE47F2B7}"/>
          </ac:spMkLst>
        </pc:spChg>
        <pc:spChg chg="mod ord">
          <ac:chgData name="Ryterski Finn (HNE US-MI-PB-BO)" userId="efff052d-68b9-4e8d-b65b-45dff653056d" providerId="ADAL" clId="{870BDC5B-2E94-425D-B3D4-696163FAE54F}" dt="2025-04-08T14:55:44.147" v="41461"/>
          <ac:spMkLst>
            <pc:docMk/>
            <pc:sldMk cId="979980158" sldId="4168"/>
            <ac:spMk id="101" creationId="{36907AEA-5402-591B-4D27-F37FFACADAF0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6:46:38.784" v="14925"/>
          <ac:spMkLst>
            <pc:docMk/>
            <pc:sldMk cId="979980158" sldId="4168"/>
            <ac:spMk id="102" creationId="{9A907064-1984-EDBD-C46D-2340E70FE4B1}"/>
          </ac:spMkLst>
        </pc:spChg>
        <pc:spChg chg="add mod ord">
          <ac:chgData name="Ryterski Finn (HNE US-MI-PB-BO)" userId="efff052d-68b9-4e8d-b65b-45dff653056d" providerId="ADAL" clId="{870BDC5B-2E94-425D-B3D4-696163FAE54F}" dt="2025-04-09T07:36:39.265" v="46613" actId="948"/>
          <ac:spMkLst>
            <pc:docMk/>
            <pc:sldMk cId="979980158" sldId="4168"/>
            <ac:spMk id="103" creationId="{47570870-5F1B-B0FF-9E21-F0206FE42F05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6:47:27.679" v="16484"/>
          <ac:spMkLst>
            <pc:docMk/>
            <pc:sldMk cId="979980158" sldId="4168"/>
            <ac:spMk id="104" creationId="{DDB05EB5-3692-0561-D0C8-CFD2E9424D80}"/>
          </ac:spMkLst>
        </pc:spChg>
        <pc:spChg chg="add del mod">
          <ac:chgData name="Ryterski Finn (HNE US-MI-PB-BO)" userId="efff052d-68b9-4e8d-b65b-45dff653056d" providerId="ADAL" clId="{870BDC5B-2E94-425D-B3D4-696163FAE54F}" dt="2025-04-07T07:24:18.254" v="21668" actId="478"/>
          <ac:spMkLst>
            <pc:docMk/>
            <pc:sldMk cId="979980158" sldId="4168"/>
            <ac:spMk id="105" creationId="{38890BB7-E6E6-C480-9FEE-EFD28CA1BE7C}"/>
          </ac:spMkLst>
        </pc:spChg>
        <pc:spChg chg="add del mod">
          <ac:chgData name="Ryterski Finn (HNE US-MI-PB-BO)" userId="efff052d-68b9-4e8d-b65b-45dff653056d" providerId="ADAL" clId="{870BDC5B-2E94-425D-B3D4-696163FAE54F}" dt="2025-04-07T08:55:19.561" v="31711" actId="478"/>
          <ac:spMkLst>
            <pc:docMk/>
            <pc:sldMk cId="979980158" sldId="4168"/>
            <ac:spMk id="106" creationId="{A07F74F5-D808-1447-F2B6-8373AE1049DF}"/>
          </ac:spMkLst>
        </pc:spChg>
        <pc:spChg chg="mod">
          <ac:chgData name="Ryterski Finn (HNE US-MI-PB-BO)" userId="efff052d-68b9-4e8d-b65b-45dff653056d" providerId="ADAL" clId="{870BDC5B-2E94-425D-B3D4-696163FAE54F}" dt="2025-04-09T07:36:39.252" v="46597"/>
          <ac:spMkLst>
            <pc:docMk/>
            <pc:sldMk cId="979980158" sldId="4168"/>
            <ac:spMk id="107" creationId="{FD8F5609-243E-9A1F-83AB-737096BC833C}"/>
          </ac:spMkLst>
        </pc:spChg>
        <pc:spChg chg="add mod ord">
          <ac:chgData name="Ryterski Finn (HNE US-MI-PB-BO)" userId="efff052d-68b9-4e8d-b65b-45dff653056d" providerId="ADAL" clId="{870BDC5B-2E94-425D-B3D4-696163FAE54F}" dt="2025-04-08T14:55:44.332" v="41633"/>
          <ac:spMkLst>
            <pc:docMk/>
            <pc:sldMk cId="979980158" sldId="4168"/>
            <ac:spMk id="108" creationId="{ADE23044-B4A7-7ECB-B354-CBC5FA576AC3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9:25:04.013" v="33693"/>
          <ac:spMkLst>
            <pc:docMk/>
            <pc:sldMk cId="979980158" sldId="4168"/>
            <ac:spMk id="109" creationId="{01BFD7FB-EC9F-BC5C-1EE2-EA1B4B529277}"/>
          </ac:spMkLst>
        </pc:spChg>
        <pc:spChg chg="mod ord">
          <ac:chgData name="Ryterski Finn (HNE US-MI-PB-BO)" userId="efff052d-68b9-4e8d-b65b-45dff653056d" providerId="ADAL" clId="{870BDC5B-2E94-425D-B3D4-696163FAE54F}" dt="2025-04-08T14:55:44.142" v="41449"/>
          <ac:spMkLst>
            <pc:docMk/>
            <pc:sldMk cId="979980158" sldId="4168"/>
            <ac:spMk id="111" creationId="{41B8A685-C737-4D82-6F27-1F99C3A6D690}"/>
          </ac:spMkLst>
        </pc:spChg>
        <pc:spChg chg="mod ord">
          <ac:chgData name="Ryterski Finn (HNE US-MI-PB-BO)" userId="efff052d-68b9-4e8d-b65b-45dff653056d" providerId="ADAL" clId="{870BDC5B-2E94-425D-B3D4-696163FAE54F}" dt="2025-04-08T14:55:44.149" v="41465"/>
          <ac:spMkLst>
            <pc:docMk/>
            <pc:sldMk cId="979980158" sldId="4168"/>
            <ac:spMk id="112" creationId="{E8CE3EFC-4E7A-488A-70EE-463BC2C84222}"/>
          </ac:spMkLst>
        </pc:spChg>
        <pc:spChg chg="mod ord">
          <ac:chgData name="Ryterski Finn (HNE US-MI-PB-BO)" userId="efff052d-68b9-4e8d-b65b-45dff653056d" providerId="ADAL" clId="{870BDC5B-2E94-425D-B3D4-696163FAE54F}" dt="2025-04-08T14:55:44.146" v="41457"/>
          <ac:spMkLst>
            <pc:docMk/>
            <pc:sldMk cId="979980158" sldId="4168"/>
            <ac:spMk id="113" creationId="{925A4F49-D0E7-5004-F038-99B93737BDEE}"/>
          </ac:spMkLst>
        </pc:spChg>
        <pc:spChg chg="mod ord">
          <ac:chgData name="Ryterski Finn (HNE US-MI-PB-BO)" userId="efff052d-68b9-4e8d-b65b-45dff653056d" providerId="ADAL" clId="{870BDC5B-2E94-425D-B3D4-696163FAE54F}" dt="2025-04-09T07:36:39.255" v="46598" actId="948"/>
          <ac:spMkLst>
            <pc:docMk/>
            <pc:sldMk cId="979980158" sldId="4168"/>
            <ac:spMk id="118" creationId="{14DC51C7-B7E1-2198-415B-7C85907B8C9E}"/>
          </ac:spMkLst>
        </pc:spChg>
        <pc:spChg chg="mod">
          <ac:chgData name="Ryterski Finn (HNE US-MI-PB-BO)" userId="efff052d-68b9-4e8d-b65b-45dff653056d" providerId="ADAL" clId="{870BDC5B-2E94-425D-B3D4-696163FAE54F}" dt="2025-04-09T07:36:39.250" v="46595"/>
          <ac:spMkLst>
            <pc:docMk/>
            <pc:sldMk cId="979980158" sldId="4168"/>
            <ac:spMk id="123" creationId="{7B3360E9-365D-1A1A-44C3-8538D8EC29F5}"/>
          </ac:spMkLst>
        </pc:spChg>
        <pc:spChg chg="mod ord">
          <ac:chgData name="Ryterski Finn (HNE US-MI-PB-BO)" userId="efff052d-68b9-4e8d-b65b-45dff653056d" providerId="ADAL" clId="{870BDC5B-2E94-425D-B3D4-696163FAE54F}" dt="2025-04-08T14:55:44.149" v="41463"/>
          <ac:spMkLst>
            <pc:docMk/>
            <pc:sldMk cId="979980158" sldId="4168"/>
            <ac:spMk id="127" creationId="{F886BCEE-7C74-9F3F-8DB2-7435894A430E}"/>
          </ac:spMkLst>
        </pc:spChg>
        <pc:spChg chg="mod">
          <ac:chgData name="Ryterski Finn (HNE US-MI-PB-BO)" userId="efff052d-68b9-4e8d-b65b-45dff653056d" providerId="ADAL" clId="{870BDC5B-2E94-425D-B3D4-696163FAE54F}" dt="2025-04-09T07:36:39.245" v="46588"/>
          <ac:spMkLst>
            <pc:docMk/>
            <pc:sldMk cId="979980158" sldId="4168"/>
            <ac:spMk id="134" creationId="{F96955E9-9D42-CDB6-E9E8-709A582B52CD}"/>
          </ac:spMkLst>
        </pc:spChg>
        <pc:spChg chg="mod ord">
          <ac:chgData name="Ryterski Finn (HNE US-MI-PB-BO)" userId="efff052d-68b9-4e8d-b65b-45dff653056d" providerId="ADAL" clId="{870BDC5B-2E94-425D-B3D4-696163FAE54F}" dt="2025-04-08T14:55:44.140" v="41445"/>
          <ac:spMkLst>
            <pc:docMk/>
            <pc:sldMk cId="979980158" sldId="4168"/>
            <ac:spMk id="138" creationId="{57CFCEC9-B3C6-EAA2-ABB2-582C767A456F}"/>
          </ac:spMkLst>
        </pc:spChg>
        <pc:spChg chg="mod">
          <ac:chgData name="Ryterski Finn (HNE US-MI-PB-BO)" userId="efff052d-68b9-4e8d-b65b-45dff653056d" providerId="ADAL" clId="{870BDC5B-2E94-425D-B3D4-696163FAE54F}" dt="2025-04-09T07:36:39.246" v="46589"/>
          <ac:spMkLst>
            <pc:docMk/>
            <pc:sldMk cId="979980158" sldId="4168"/>
            <ac:spMk id="139" creationId="{8EBF30F1-D87A-A5E9-DB7A-9DFBDD39EBB2}"/>
          </ac:spMkLst>
        </pc:spChg>
        <pc:spChg chg="mod">
          <ac:chgData name="Ryterski Finn (HNE US-MI-PB-BO)" userId="efff052d-68b9-4e8d-b65b-45dff653056d" providerId="ADAL" clId="{870BDC5B-2E94-425D-B3D4-696163FAE54F}" dt="2025-04-09T07:36:39.246" v="46590"/>
          <ac:spMkLst>
            <pc:docMk/>
            <pc:sldMk cId="979980158" sldId="4168"/>
            <ac:spMk id="141" creationId="{FCDCED73-B4FD-F9C5-B77A-B6635A188EF8}"/>
          </ac:spMkLst>
        </pc:spChg>
        <pc:spChg chg="mod ord">
          <ac:chgData name="Ryterski Finn (HNE US-MI-PB-BO)" userId="efff052d-68b9-4e8d-b65b-45dff653056d" providerId="ADAL" clId="{870BDC5B-2E94-425D-B3D4-696163FAE54F}" dt="2025-04-08T14:55:44.141" v="41447"/>
          <ac:spMkLst>
            <pc:docMk/>
            <pc:sldMk cId="979980158" sldId="4168"/>
            <ac:spMk id="143" creationId="{5DF86206-5D8D-C870-997A-11D6337FEA6E}"/>
          </ac:spMkLst>
        </pc:spChg>
        <pc:graphicFrameChg chg="mod">
          <ac:chgData name="Ryterski Finn (HNE US-MI-PB-BO)" userId="efff052d-68b9-4e8d-b65b-45dff653056d" providerId="ADAL" clId="{870BDC5B-2E94-425D-B3D4-696163FAE54F}" dt="2025-04-09T07:36:39.305" v="46644"/>
          <ac:graphicFrameMkLst>
            <pc:docMk/>
            <pc:sldMk cId="979980158" sldId="4168"/>
            <ac:graphicFrameMk id="84" creationId="{00000000-0000-0000-0000-000000000000}"/>
          </ac:graphicFrameMkLst>
        </pc:graphicFrameChg>
        <pc:cxnChg chg="mod ord">
          <ac:chgData name="Ryterski Finn (HNE US-MI-PB-BO)" userId="efff052d-68b9-4e8d-b65b-45dff653056d" providerId="ADAL" clId="{870BDC5B-2E94-425D-B3D4-696163FAE54F}" dt="2025-04-08T14:55:44.240" v="41557"/>
          <ac:cxnSpMkLst>
            <pc:docMk/>
            <pc:sldMk cId="979980158" sldId="4168"/>
            <ac:cxnSpMk id="6" creationId="{97A5C7F3-47BE-F588-E6D8-DD9A43CC8D37}"/>
          </ac:cxnSpMkLst>
        </pc:cxnChg>
        <pc:cxnChg chg="mod ord">
          <ac:chgData name="Ryterski Finn (HNE US-MI-PB-BO)" userId="efff052d-68b9-4e8d-b65b-45dff653056d" providerId="ADAL" clId="{870BDC5B-2E94-425D-B3D4-696163FAE54F}" dt="2025-04-08T14:55:44.230" v="41543"/>
          <ac:cxnSpMkLst>
            <pc:docMk/>
            <pc:sldMk cId="979980158" sldId="4168"/>
            <ac:cxnSpMk id="9" creationId="{E04958DD-623A-069D-2B77-ED590050803F}"/>
          </ac:cxnSpMkLst>
        </pc:cxnChg>
        <pc:cxnChg chg="mod ord">
          <ac:chgData name="Ryterski Finn (HNE US-MI-PB-BO)" userId="efff052d-68b9-4e8d-b65b-45dff653056d" providerId="ADAL" clId="{870BDC5B-2E94-425D-B3D4-696163FAE54F}" dt="2025-04-08T14:55:44.209" v="41519"/>
          <ac:cxnSpMkLst>
            <pc:docMk/>
            <pc:sldMk cId="979980158" sldId="4168"/>
            <ac:cxnSpMk id="10" creationId="{659FE2D0-4E0F-2072-7BB5-99A640610745}"/>
          </ac:cxnSpMkLst>
        </pc:cxnChg>
        <pc:cxnChg chg="mod ord">
          <ac:chgData name="Ryterski Finn (HNE US-MI-PB-BO)" userId="efff052d-68b9-4e8d-b65b-45dff653056d" providerId="ADAL" clId="{870BDC5B-2E94-425D-B3D4-696163FAE54F}" dt="2025-04-08T14:55:44.196" v="41511"/>
          <ac:cxnSpMkLst>
            <pc:docMk/>
            <pc:sldMk cId="979980158" sldId="4168"/>
            <ac:cxnSpMk id="14" creationId="{42C8F5F4-C035-DCA1-4403-B8A0D2CA7E68}"/>
          </ac:cxnSpMkLst>
        </pc:cxnChg>
        <pc:cxnChg chg="mod ord">
          <ac:chgData name="Ryterski Finn (HNE US-MI-PB-BO)" userId="efff052d-68b9-4e8d-b65b-45dff653056d" providerId="ADAL" clId="{870BDC5B-2E94-425D-B3D4-696163FAE54F}" dt="2025-04-08T14:55:44.192" v="41509"/>
          <ac:cxnSpMkLst>
            <pc:docMk/>
            <pc:sldMk cId="979980158" sldId="4168"/>
            <ac:cxnSpMk id="20" creationId="{7ED8B4F6-DE8D-42C3-9988-2F5DD5AA6B33}"/>
          </ac:cxnSpMkLst>
        </pc:cxnChg>
        <pc:cxnChg chg="mod ord">
          <ac:chgData name="Ryterski Finn (HNE US-MI-PB-BO)" userId="efff052d-68b9-4e8d-b65b-45dff653056d" providerId="ADAL" clId="{870BDC5B-2E94-425D-B3D4-696163FAE54F}" dt="2025-04-08T14:55:44.234" v="41549"/>
          <ac:cxnSpMkLst>
            <pc:docMk/>
            <pc:sldMk cId="979980158" sldId="4168"/>
            <ac:cxnSpMk id="21" creationId="{F6C9D25B-F6B7-BA0F-9D50-5C6DDA173925}"/>
          </ac:cxnSpMkLst>
        </pc:cxnChg>
        <pc:cxnChg chg="mod ord">
          <ac:chgData name="Ryterski Finn (HNE US-MI-PB-BO)" userId="efff052d-68b9-4e8d-b65b-45dff653056d" providerId="ADAL" clId="{870BDC5B-2E94-425D-B3D4-696163FAE54F}" dt="2025-04-08T14:55:44.204" v="41515"/>
          <ac:cxnSpMkLst>
            <pc:docMk/>
            <pc:sldMk cId="979980158" sldId="4168"/>
            <ac:cxnSpMk id="27" creationId="{DC317210-0C36-A51C-68E2-0D9718DB1123}"/>
          </ac:cxnSpMkLst>
        </pc:cxnChg>
        <pc:cxnChg chg="mod ord">
          <ac:chgData name="Ryterski Finn (HNE US-MI-PB-BO)" userId="efff052d-68b9-4e8d-b65b-45dff653056d" providerId="ADAL" clId="{870BDC5B-2E94-425D-B3D4-696163FAE54F}" dt="2025-04-08T14:55:44.229" v="41541"/>
          <ac:cxnSpMkLst>
            <pc:docMk/>
            <pc:sldMk cId="979980158" sldId="4168"/>
            <ac:cxnSpMk id="28" creationId="{B8331BB4-AD3C-2BCD-F21D-4E4800BE20DB}"/>
          </ac:cxnSpMkLst>
        </pc:cxnChg>
        <pc:cxnChg chg="mod ord">
          <ac:chgData name="Ryterski Finn (HNE US-MI-PB-BO)" userId="efff052d-68b9-4e8d-b65b-45dff653056d" providerId="ADAL" clId="{870BDC5B-2E94-425D-B3D4-696163FAE54F}" dt="2025-04-08T14:55:44.200" v="41513"/>
          <ac:cxnSpMkLst>
            <pc:docMk/>
            <pc:sldMk cId="979980158" sldId="4168"/>
            <ac:cxnSpMk id="31" creationId="{8086DE36-634A-CA47-6DDA-ED77CF2A99EF}"/>
          </ac:cxnSpMkLst>
        </pc:cxnChg>
        <pc:cxnChg chg="mod ord">
          <ac:chgData name="Ryterski Finn (HNE US-MI-PB-BO)" userId="efff052d-68b9-4e8d-b65b-45dff653056d" providerId="ADAL" clId="{870BDC5B-2E94-425D-B3D4-696163FAE54F}" dt="2025-04-08T14:55:44.239" v="41555"/>
          <ac:cxnSpMkLst>
            <pc:docMk/>
            <pc:sldMk cId="979980158" sldId="4168"/>
            <ac:cxnSpMk id="32" creationId="{BB11E1F4-2C52-DABE-64A5-599FAD086352}"/>
          </ac:cxnSpMkLst>
        </pc:cxnChg>
        <pc:cxnChg chg="add mod ord">
          <ac:chgData name="Ryterski Finn (HNE US-MI-PB-BO)" userId="efff052d-68b9-4e8d-b65b-45dff653056d" providerId="ADAL" clId="{870BDC5B-2E94-425D-B3D4-696163FAE54F}" dt="2025-04-08T14:55:44.216" v="41525"/>
          <ac:cxnSpMkLst>
            <pc:docMk/>
            <pc:sldMk cId="979980158" sldId="4168"/>
            <ac:cxnSpMk id="42" creationId="{2A422C77-237A-2834-D60C-603EAC8988DD}"/>
          </ac:cxnSpMkLst>
        </pc:cxnChg>
        <pc:cxnChg chg="mod ord">
          <ac:chgData name="Ryterski Finn (HNE US-MI-PB-BO)" userId="efff052d-68b9-4e8d-b65b-45dff653056d" providerId="ADAL" clId="{870BDC5B-2E94-425D-B3D4-696163FAE54F}" dt="2025-04-08T14:55:44.231" v="41545"/>
          <ac:cxnSpMkLst>
            <pc:docMk/>
            <pc:sldMk cId="979980158" sldId="4168"/>
            <ac:cxnSpMk id="43" creationId="{71AF9410-C7C4-516A-EBC7-0DCA11A23DEB}"/>
          </ac:cxnSpMkLst>
        </pc:cxnChg>
        <pc:cxnChg chg="mod ord">
          <ac:chgData name="Ryterski Finn (HNE US-MI-PB-BO)" userId="efff052d-68b9-4e8d-b65b-45dff653056d" providerId="ADAL" clId="{870BDC5B-2E94-425D-B3D4-696163FAE54F}" dt="2025-04-08T14:55:44.236" v="41551"/>
          <ac:cxnSpMkLst>
            <pc:docMk/>
            <pc:sldMk cId="979980158" sldId="4168"/>
            <ac:cxnSpMk id="49" creationId="{7DF19BB7-675A-53C9-AFFF-3AA064EC4121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6:50:47.612" v="42295"/>
          <ac:cxnSpMkLst>
            <pc:docMk/>
            <pc:sldMk cId="979980158" sldId="4168"/>
            <ac:cxnSpMk id="53" creationId="{095958B8-2E20-178C-50BB-CB24E49F5704}"/>
          </ac:cxnSpMkLst>
        </pc:cxnChg>
        <pc:cxnChg chg="add mod ord">
          <ac:chgData name="Ryterski Finn (HNE US-MI-PB-BO)" userId="efff052d-68b9-4e8d-b65b-45dff653056d" providerId="ADAL" clId="{870BDC5B-2E94-425D-B3D4-696163FAE54F}" dt="2025-04-08T14:55:44.220" v="41529"/>
          <ac:cxnSpMkLst>
            <pc:docMk/>
            <pc:sldMk cId="979980158" sldId="4168"/>
            <ac:cxnSpMk id="56" creationId="{4F551B3C-20EE-323B-B539-1E0A720118F4}"/>
          </ac:cxnSpMkLst>
        </pc:cxnChg>
        <pc:cxnChg chg="del mod ord">
          <ac:chgData name="Ryterski Finn (HNE US-MI-PB-BO)" userId="efff052d-68b9-4e8d-b65b-45dff653056d" providerId="ADAL" clId="{870BDC5B-2E94-425D-B3D4-696163FAE54F}" dt="2025-04-07T06:25:41.260" v="10004"/>
          <ac:cxnSpMkLst>
            <pc:docMk/>
            <pc:sldMk cId="979980158" sldId="4168"/>
            <ac:cxnSpMk id="58" creationId="{0474A8BD-05EC-21DD-7286-A838486262A2}"/>
          </ac:cxnSpMkLst>
        </pc:cxnChg>
        <pc:cxnChg chg="add mod ord">
          <ac:chgData name="Ryterski Finn (HNE US-MI-PB-BO)" userId="efff052d-68b9-4e8d-b65b-45dff653056d" providerId="ADAL" clId="{870BDC5B-2E94-425D-B3D4-696163FAE54F}" dt="2025-04-08T14:55:44.221" v="41531"/>
          <ac:cxnSpMkLst>
            <pc:docMk/>
            <pc:sldMk cId="979980158" sldId="4168"/>
            <ac:cxnSpMk id="58" creationId="{78CAB69B-A246-EBFF-4A13-40C1F0EEBF26}"/>
          </ac:cxnSpMkLst>
        </pc:cxnChg>
        <pc:cxnChg chg="mod ord">
          <ac:chgData name="Ryterski Finn (HNE US-MI-PB-BO)" userId="efff052d-68b9-4e8d-b65b-45dff653056d" providerId="ADAL" clId="{870BDC5B-2E94-425D-B3D4-696163FAE54F}" dt="2025-04-08T14:55:44.211" v="41521"/>
          <ac:cxnSpMkLst>
            <pc:docMk/>
            <pc:sldMk cId="979980158" sldId="4168"/>
            <ac:cxnSpMk id="60" creationId="{CF37A7BB-142A-077A-E089-90C7C52F7511}"/>
          </ac:cxnSpMkLst>
        </pc:cxnChg>
        <pc:cxnChg chg="mod ord">
          <ac:chgData name="Ryterski Finn (HNE US-MI-PB-BO)" userId="efff052d-68b9-4e8d-b65b-45dff653056d" providerId="ADAL" clId="{870BDC5B-2E94-425D-B3D4-696163FAE54F}" dt="2025-04-09T06:50:47.588" v="42272"/>
          <ac:cxnSpMkLst>
            <pc:docMk/>
            <pc:sldMk cId="979980158" sldId="4168"/>
            <ac:cxnSpMk id="70" creationId="{19C32031-9518-6C30-077A-D3D9BA784F44}"/>
          </ac:cxnSpMkLst>
        </pc:cxnChg>
        <pc:cxnChg chg="add del mod ord">
          <ac:chgData name="Ryterski Finn (HNE US-MI-PB-BO)" userId="efff052d-68b9-4e8d-b65b-45dff653056d" providerId="ADAL" clId="{870BDC5B-2E94-425D-B3D4-696163FAE54F}" dt="2025-04-07T09:50:35.538" v="34890"/>
          <ac:cxnSpMkLst>
            <pc:docMk/>
            <pc:sldMk cId="979980158" sldId="4168"/>
            <ac:cxnSpMk id="71" creationId="{6F4463C4-511F-943C-7E16-22186947FF1B}"/>
          </ac:cxnSpMkLst>
        </pc:cxnChg>
        <pc:cxnChg chg="add mod ord">
          <ac:chgData name="Ryterski Finn (HNE US-MI-PB-BO)" userId="efff052d-68b9-4e8d-b65b-45dff653056d" providerId="ADAL" clId="{870BDC5B-2E94-425D-B3D4-696163FAE54F}" dt="2025-04-08T14:55:44.213" v="41523"/>
          <ac:cxnSpMkLst>
            <pc:docMk/>
            <pc:sldMk cId="979980158" sldId="4168"/>
            <ac:cxnSpMk id="73" creationId="{0839A274-0BD0-40C2-64BF-58DFAACB0631}"/>
          </ac:cxnSpMkLst>
        </pc:cxnChg>
        <pc:cxnChg chg="add mod ord">
          <ac:chgData name="Ryterski Finn (HNE US-MI-PB-BO)" userId="efff052d-68b9-4e8d-b65b-45dff653056d" providerId="ADAL" clId="{870BDC5B-2E94-425D-B3D4-696163FAE54F}" dt="2025-04-08T14:55:44.227" v="41539"/>
          <ac:cxnSpMkLst>
            <pc:docMk/>
            <pc:sldMk cId="979980158" sldId="4168"/>
            <ac:cxnSpMk id="74" creationId="{4918282E-2942-4440-8337-768743A32332}"/>
          </ac:cxnSpMkLst>
        </pc:cxnChg>
        <pc:cxnChg chg="mod ord">
          <ac:chgData name="Ryterski Finn (HNE US-MI-PB-BO)" userId="efff052d-68b9-4e8d-b65b-45dff653056d" providerId="ADAL" clId="{870BDC5B-2E94-425D-B3D4-696163FAE54F}" dt="2025-04-08T14:55:44.226" v="41537"/>
          <ac:cxnSpMkLst>
            <pc:docMk/>
            <pc:sldMk cId="979980158" sldId="4168"/>
            <ac:cxnSpMk id="75" creationId="{3C1319D8-74EF-F3FD-F7B4-1E782CF84F7F}"/>
          </ac:cxnSpMkLst>
        </pc:cxnChg>
        <pc:cxnChg chg="mod ord">
          <ac:chgData name="Ryterski Finn (HNE US-MI-PB-BO)" userId="efff052d-68b9-4e8d-b65b-45dff653056d" providerId="ADAL" clId="{870BDC5B-2E94-425D-B3D4-696163FAE54F}" dt="2025-04-08T14:55:44.224" v="41535"/>
          <ac:cxnSpMkLst>
            <pc:docMk/>
            <pc:sldMk cId="979980158" sldId="4168"/>
            <ac:cxnSpMk id="76" creationId="{2F12BF95-F5C6-631E-6311-78566D368DFE}"/>
          </ac:cxnSpMkLst>
        </pc:cxnChg>
        <pc:cxnChg chg="mod ord">
          <ac:chgData name="Ryterski Finn (HNE US-MI-PB-BO)" userId="efff052d-68b9-4e8d-b65b-45dff653056d" providerId="ADAL" clId="{870BDC5B-2E94-425D-B3D4-696163FAE54F}" dt="2025-04-08T14:55:44.223" v="41533"/>
          <ac:cxnSpMkLst>
            <pc:docMk/>
            <pc:sldMk cId="979980158" sldId="4168"/>
            <ac:cxnSpMk id="77" creationId="{99C91243-AC2B-A6B7-EA57-2F79A0811F4F}"/>
          </ac:cxnSpMkLst>
        </pc:cxnChg>
        <pc:cxnChg chg="add del mod ord">
          <ac:chgData name="Ryterski Finn (HNE US-MI-PB-BO)" userId="efff052d-68b9-4e8d-b65b-45dff653056d" providerId="ADAL" clId="{870BDC5B-2E94-425D-B3D4-696163FAE54F}" dt="2025-04-07T06:27:12.918" v="10653"/>
          <ac:cxnSpMkLst>
            <pc:docMk/>
            <pc:sldMk cId="979980158" sldId="4168"/>
            <ac:cxnSpMk id="90" creationId="{A377F193-F513-4068-EDF7-B718AB9CF555}"/>
          </ac:cxnSpMkLst>
        </pc:cxnChg>
        <pc:cxnChg chg="add del mod ord">
          <ac:chgData name="Ryterski Finn (HNE US-MI-PB-BO)" userId="efff052d-68b9-4e8d-b65b-45dff653056d" providerId="ADAL" clId="{870BDC5B-2E94-425D-B3D4-696163FAE54F}" dt="2025-04-07T06:27:21.253" v="10967"/>
          <ac:cxnSpMkLst>
            <pc:docMk/>
            <pc:sldMk cId="979980158" sldId="4168"/>
            <ac:cxnSpMk id="91" creationId="{8A831E2F-23C8-ADA7-6686-5D5209CDE37C}"/>
          </ac:cxnSpMkLst>
        </pc:cxnChg>
        <pc:cxnChg chg="mod ord">
          <ac:chgData name="Ryterski Finn (HNE US-MI-PB-BO)" userId="efff052d-68b9-4e8d-b65b-45dff653056d" providerId="ADAL" clId="{870BDC5B-2E94-425D-B3D4-696163FAE54F}" dt="2025-04-08T14:55:44.233" v="41547"/>
          <ac:cxnSpMkLst>
            <pc:docMk/>
            <pc:sldMk cId="979980158" sldId="4168"/>
            <ac:cxnSpMk id="94" creationId="{EA4F88AD-862E-6545-F035-7CCB2F7E1C95}"/>
          </ac:cxnSpMkLst>
        </pc:cxnChg>
        <pc:cxnChg chg="mod ord">
          <ac:chgData name="Ryterski Finn (HNE US-MI-PB-BO)" userId="efff052d-68b9-4e8d-b65b-45dff653056d" providerId="ADAL" clId="{870BDC5B-2E94-425D-B3D4-696163FAE54F}" dt="2025-04-08T14:55:44.241" v="41559"/>
          <ac:cxnSpMkLst>
            <pc:docMk/>
            <pc:sldMk cId="979980158" sldId="4168"/>
            <ac:cxnSpMk id="95" creationId="{1D79E207-D31A-7705-B0F8-AED1B288ED79}"/>
          </ac:cxnSpMkLst>
        </pc:cxnChg>
        <pc:cxnChg chg="mod ord">
          <ac:chgData name="Ryterski Finn (HNE US-MI-PB-BO)" userId="efff052d-68b9-4e8d-b65b-45dff653056d" providerId="ADAL" clId="{870BDC5B-2E94-425D-B3D4-696163FAE54F}" dt="2025-04-08T14:55:44.207" v="41517"/>
          <ac:cxnSpMkLst>
            <pc:docMk/>
            <pc:sldMk cId="979980158" sldId="4168"/>
            <ac:cxnSpMk id="122" creationId="{298F6DCF-7AD9-9DEA-96FF-383CBAD84112}"/>
          </ac:cxnSpMkLst>
        </pc:cxnChg>
      </pc:sldChg>
      <pc:sldChg chg="addSp delSp modSp mod">
        <pc:chgData name="Ryterski Finn (HNE US-MI-PB-BO)" userId="efff052d-68b9-4e8d-b65b-45dff653056d" providerId="ADAL" clId="{870BDC5B-2E94-425D-B3D4-696163FAE54F}" dt="2025-04-10T10:33:29.517" v="47527" actId="20577"/>
        <pc:sldMkLst>
          <pc:docMk/>
          <pc:sldMk cId="354232435" sldId="4173"/>
        </pc:sldMkLst>
        <pc:spChg chg="del">
          <ac:chgData name="Ryterski Finn (HNE US-MI-PB-BO)" userId="efff052d-68b9-4e8d-b65b-45dff653056d" providerId="ADAL" clId="{870BDC5B-2E94-425D-B3D4-696163FAE54F}" dt="2025-04-07T07:05:02.597" v="21084" actId="478"/>
          <ac:spMkLst>
            <pc:docMk/>
            <pc:sldMk cId="354232435" sldId="4173"/>
            <ac:spMk id="2" creationId="{00000000-0000-0000-0000-000000000000}"/>
          </ac:spMkLst>
        </pc:spChg>
        <pc:spChg chg="add del mod">
          <ac:chgData name="Ryterski Finn (HNE US-MI-PB-BO)" userId="efff052d-68b9-4e8d-b65b-45dff653056d" providerId="ADAL" clId="{870BDC5B-2E94-425D-B3D4-696163FAE54F}" dt="2025-04-07T07:24:24.927" v="21671" actId="478"/>
          <ac:spMkLst>
            <pc:docMk/>
            <pc:sldMk cId="354232435" sldId="4173"/>
            <ac:spMk id="4" creationId="{6647AB1E-F5F7-6ED9-9B72-65DD08547DE5}"/>
          </ac:spMkLst>
        </pc:spChg>
        <pc:spChg chg="mod">
          <ac:chgData name="Ryterski Finn (HNE US-MI-PB-BO)" userId="efff052d-68b9-4e8d-b65b-45dff653056d" providerId="ADAL" clId="{870BDC5B-2E94-425D-B3D4-696163FAE54F}" dt="2025-04-10T10:32:32.838" v="47482" actId="207"/>
          <ac:spMkLst>
            <pc:docMk/>
            <pc:sldMk cId="354232435" sldId="4173"/>
            <ac:spMk id="26" creationId="{C00D2B79-2C9C-54A5-BAF5-D1A49F5102C5}"/>
          </ac:spMkLst>
        </pc:spChg>
        <pc:spChg chg="mod">
          <ac:chgData name="Ryterski Finn (HNE US-MI-PB-BO)" userId="efff052d-68b9-4e8d-b65b-45dff653056d" providerId="ADAL" clId="{870BDC5B-2E94-425D-B3D4-696163FAE54F}" dt="2025-04-10T10:32:39.925" v="47483" actId="207"/>
          <ac:spMkLst>
            <pc:docMk/>
            <pc:sldMk cId="354232435" sldId="4173"/>
            <ac:spMk id="27" creationId="{B7DCBEC2-EA47-1870-A676-47A44E39DA0A}"/>
          </ac:spMkLst>
        </pc:spChg>
        <pc:spChg chg="add del mod">
          <ac:chgData name="Ryterski Finn (HNE US-MI-PB-BO)" userId="efff052d-68b9-4e8d-b65b-45dff653056d" providerId="ADAL" clId="{870BDC5B-2E94-425D-B3D4-696163FAE54F}" dt="2025-04-07T08:55:27.571" v="31713" actId="478"/>
          <ac:spMkLst>
            <pc:docMk/>
            <pc:sldMk cId="354232435" sldId="4173"/>
            <ac:spMk id="28" creationId="{9AF42B9E-9947-55F7-71EC-0A133C51C725}"/>
          </ac:spMkLst>
        </pc:spChg>
        <pc:spChg chg="add del mod">
          <ac:chgData name="Ryterski Finn (HNE US-MI-PB-BO)" userId="efff052d-68b9-4e8d-b65b-45dff653056d" providerId="ADAL" clId="{870BDC5B-2E94-425D-B3D4-696163FAE54F}" dt="2025-04-07T07:47:00.121" v="23203"/>
          <ac:spMkLst>
            <pc:docMk/>
            <pc:sldMk cId="354232435" sldId="4173"/>
            <ac:spMk id="31" creationId="{9C861B3F-1FFF-37C2-866A-F9C899C68038}"/>
          </ac:spMkLst>
        </pc:spChg>
        <pc:spChg chg="add mod">
          <ac:chgData name="Ryterski Finn (HNE US-MI-PB-BO)" userId="efff052d-68b9-4e8d-b65b-45dff653056d" providerId="ADAL" clId="{870BDC5B-2E94-425D-B3D4-696163FAE54F}" dt="2025-04-10T10:33:29.517" v="47527" actId="20577"/>
          <ac:spMkLst>
            <pc:docMk/>
            <pc:sldMk cId="354232435" sldId="4173"/>
            <ac:spMk id="33" creationId="{266491CF-6229-EE4F-CA06-D3F1A5CEBA6E}"/>
          </ac:spMkLst>
        </pc:spChg>
        <pc:spChg chg="add mod">
          <ac:chgData name="Ryterski Finn (HNE US-MI-PB-BO)" userId="efff052d-68b9-4e8d-b65b-45dff653056d" providerId="ADAL" clId="{870BDC5B-2E94-425D-B3D4-696163FAE54F}" dt="2025-04-07T08:55:27.779" v="31714"/>
          <ac:spMkLst>
            <pc:docMk/>
            <pc:sldMk cId="354232435" sldId="4173"/>
            <ac:spMk id="34" creationId="{27696D4C-D942-3C6F-F9F0-7DD7F593011B}"/>
          </ac:spMkLst>
        </pc:spChg>
        <pc:spChg chg="mod">
          <ac:chgData name="Ryterski Finn (HNE US-MI-PB-BO)" userId="efff052d-68b9-4e8d-b65b-45dff653056d" providerId="ADAL" clId="{870BDC5B-2E94-425D-B3D4-696163FAE54F}" dt="2025-04-09T07:38:12.199" v="46647" actId="14100"/>
          <ac:spMkLst>
            <pc:docMk/>
            <pc:sldMk cId="354232435" sldId="4173"/>
            <ac:spMk id="43" creationId="{FF2093BD-9946-D095-5CC6-A6F6DFFD3B94}"/>
          </ac:spMkLst>
        </pc:spChg>
        <pc:spChg chg="mod">
          <ac:chgData name="Ryterski Finn (HNE US-MI-PB-BO)" userId="efff052d-68b9-4e8d-b65b-45dff653056d" providerId="ADAL" clId="{870BDC5B-2E94-425D-B3D4-696163FAE54F}" dt="2025-04-08T14:04:44.449" v="35277" actId="20577"/>
          <ac:spMkLst>
            <pc:docMk/>
            <pc:sldMk cId="354232435" sldId="4173"/>
            <ac:spMk id="73" creationId="{D96F94C3-1354-D297-1804-1D9756DA1B96}"/>
          </ac:spMkLst>
        </pc:spChg>
      </pc:sldChg>
      <pc:sldChg chg="addSp delSp modSp del mod">
        <pc:chgData name="Ryterski Finn (HNE US-MI-PB-BO)" userId="efff052d-68b9-4e8d-b65b-45dff653056d" providerId="ADAL" clId="{870BDC5B-2E94-425D-B3D4-696163FAE54F}" dt="2025-04-07T07:06:10.418" v="21092" actId="2696"/>
        <pc:sldMkLst>
          <pc:docMk/>
          <pc:sldMk cId="758794308" sldId="4174"/>
        </pc:sldMkLst>
        <pc:spChg chg="del">
          <ac:chgData name="Ryterski Finn (HNE US-MI-PB-BO)" userId="efff052d-68b9-4e8d-b65b-45dff653056d" providerId="ADAL" clId="{870BDC5B-2E94-425D-B3D4-696163FAE54F}" dt="2025-04-07T07:04:58.882" v="21082" actId="478"/>
          <ac:spMkLst>
            <pc:docMk/>
            <pc:sldMk cId="758794308" sldId="4174"/>
            <ac:spMk id="2" creationId="{00000000-0000-0000-0000-000000000000}"/>
          </ac:spMkLst>
        </pc:spChg>
        <pc:spChg chg="add mod">
          <ac:chgData name="Ryterski Finn (HNE US-MI-PB-BO)" userId="efff052d-68b9-4e8d-b65b-45dff653056d" providerId="ADAL" clId="{870BDC5B-2E94-425D-B3D4-696163FAE54F}" dt="2025-04-07T07:04:59.295" v="21083"/>
          <ac:spMkLst>
            <pc:docMk/>
            <pc:sldMk cId="758794308" sldId="4174"/>
            <ac:spMk id="12" creationId="{3BA1E5B0-5C76-0DD8-5730-FA874C8F62DF}"/>
          </ac:spMkLst>
        </pc:spChg>
      </pc:sldChg>
      <pc:sldChg chg="addSp delSp modSp mod">
        <pc:chgData name="Ryterski Finn (HNE US-MI-PB-BO)" userId="efff052d-68b9-4e8d-b65b-45dff653056d" providerId="ADAL" clId="{870BDC5B-2E94-425D-B3D4-696163FAE54F}" dt="2025-04-07T10:02:29.333" v="35227" actId="20577"/>
        <pc:sldMkLst>
          <pc:docMk/>
          <pc:sldMk cId="2014990854" sldId="4178"/>
        </pc:sldMkLst>
        <pc:spChg chg="del">
          <ac:chgData name="Ryterski Finn (HNE US-MI-PB-BO)" userId="efff052d-68b9-4e8d-b65b-45dff653056d" providerId="ADAL" clId="{870BDC5B-2E94-425D-B3D4-696163FAE54F}" dt="2025-04-07T07:05:13.651" v="21090" actId="478"/>
          <ac:spMkLst>
            <pc:docMk/>
            <pc:sldMk cId="2014990854" sldId="4178"/>
            <ac:spMk id="2" creationId="{B1B41415-8FF7-6023-A970-FE24D3326F12}"/>
          </ac:spMkLst>
        </pc:spChg>
        <pc:spChg chg="mod ord">
          <ac:chgData name="Ryterski Finn (HNE US-MI-PB-BO)" userId="efff052d-68b9-4e8d-b65b-45dff653056d" providerId="ADAL" clId="{870BDC5B-2E94-425D-B3D4-696163FAE54F}" dt="2025-04-07T09:29:14.745" v="33874" actId="948"/>
          <ac:spMkLst>
            <pc:docMk/>
            <pc:sldMk cId="2014990854" sldId="4178"/>
            <ac:spMk id="5" creationId="{BCC35B98-0437-6DE3-7241-435A378F85C3}"/>
          </ac:spMkLst>
        </pc:spChg>
        <pc:spChg chg="add del mod ord">
          <ac:chgData name="Ryterski Finn (HNE US-MI-PB-BO)" userId="efff052d-68b9-4e8d-b65b-45dff653056d" providerId="ADAL" clId="{870BDC5B-2E94-425D-B3D4-696163FAE54F}" dt="2025-04-07T08:55:36.056" v="31717" actId="478"/>
          <ac:spMkLst>
            <pc:docMk/>
            <pc:sldMk cId="2014990854" sldId="4178"/>
            <ac:spMk id="6" creationId="{0613072D-7845-4C1D-A982-7081C1AD5D10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7:52:34.741" v="24010"/>
          <ac:spMkLst>
            <pc:docMk/>
            <pc:sldMk cId="2014990854" sldId="4178"/>
            <ac:spMk id="7" creationId="{324818D6-BA3D-EC57-93BE-75FF655F2D56}"/>
          </ac:spMkLst>
        </pc:spChg>
        <pc:spChg chg="add del mod ord">
          <ac:chgData name="Ryterski Finn (HNE US-MI-PB-BO)" userId="efff052d-68b9-4e8d-b65b-45dff653056d" providerId="ADAL" clId="{870BDC5B-2E94-425D-B3D4-696163FAE54F}" dt="2025-04-07T08:45:10.007" v="30694"/>
          <ac:spMkLst>
            <pc:docMk/>
            <pc:sldMk cId="2014990854" sldId="4178"/>
            <ac:spMk id="8" creationId="{7618A037-5CC0-F48E-44FF-3DB61735467F}"/>
          </ac:spMkLst>
        </pc:spChg>
        <pc:spChg chg="add del mod ord">
          <ac:chgData name="Ryterski Finn (HNE US-MI-PB-BO)" userId="efff052d-68b9-4e8d-b65b-45dff653056d" providerId="ADAL" clId="{870BDC5B-2E94-425D-B3D4-696163FAE54F}" dt="2025-04-07T08:48:46.278" v="31370"/>
          <ac:spMkLst>
            <pc:docMk/>
            <pc:sldMk cId="2014990854" sldId="4178"/>
            <ac:spMk id="9" creationId="{FB0755B5-5394-0303-C155-A6D5830643CF}"/>
          </ac:spMkLst>
        </pc:spChg>
        <pc:spChg chg="mod ord">
          <ac:chgData name="Ryterski Finn (HNE US-MI-PB-BO)" userId="efff052d-68b9-4e8d-b65b-45dff653056d" providerId="ADAL" clId="{870BDC5B-2E94-425D-B3D4-696163FAE54F}" dt="2025-04-07T08:48:15.770" v="31109"/>
          <ac:spMkLst>
            <pc:docMk/>
            <pc:sldMk cId="2014990854" sldId="4178"/>
            <ac:spMk id="10" creationId="{C2685ECF-ED47-F77A-9B18-2BD3A20531BE}"/>
          </ac:spMkLst>
        </pc:spChg>
        <pc:spChg chg="add mod ord">
          <ac:chgData name="Ryterski Finn (HNE US-MI-PB-BO)" userId="efff052d-68b9-4e8d-b65b-45dff653056d" providerId="ADAL" clId="{870BDC5B-2E94-425D-B3D4-696163FAE54F}" dt="2025-04-07T08:48:20.419" v="31228"/>
          <ac:spMkLst>
            <pc:docMk/>
            <pc:sldMk cId="2014990854" sldId="4178"/>
            <ac:spMk id="11" creationId="{89EDBF6F-754C-C680-DCF6-7DBFFF3188D7}"/>
          </ac:spMkLst>
        </pc:spChg>
        <pc:spChg chg="del mod ord">
          <ac:chgData name="Ryterski Finn (HNE US-MI-PB-BO)" userId="efff052d-68b9-4e8d-b65b-45dff653056d" providerId="ADAL" clId="{870BDC5B-2E94-425D-B3D4-696163FAE54F}" dt="2025-04-07T08:48:11.264" v="31031"/>
          <ac:spMkLst>
            <pc:docMk/>
            <pc:sldMk cId="2014990854" sldId="4178"/>
            <ac:spMk id="12" creationId="{D0886474-BC82-C39D-2ABE-BE5E01BC9952}"/>
          </ac:spMkLst>
        </pc:spChg>
        <pc:spChg chg="add mod">
          <ac:chgData name="Ryterski Finn (HNE US-MI-PB-BO)" userId="efff052d-68b9-4e8d-b65b-45dff653056d" providerId="ADAL" clId="{870BDC5B-2E94-425D-B3D4-696163FAE54F}" dt="2025-04-07T08:55:36.244" v="31718"/>
          <ac:spMkLst>
            <pc:docMk/>
            <pc:sldMk cId="2014990854" sldId="4178"/>
            <ac:spMk id="13" creationId="{C09D78FA-7E92-17E0-C92F-1A6789779D1E}"/>
          </ac:spMkLst>
        </pc:spChg>
        <pc:spChg chg="mod ord">
          <ac:chgData name="Ryterski Finn (HNE US-MI-PB-BO)" userId="efff052d-68b9-4e8d-b65b-45dff653056d" providerId="ADAL" clId="{870BDC5B-2E94-425D-B3D4-696163FAE54F}" dt="2025-04-07T08:48:38.768" v="31262" actId="20577"/>
          <ac:spMkLst>
            <pc:docMk/>
            <pc:sldMk cId="2014990854" sldId="4178"/>
            <ac:spMk id="21" creationId="{476E7D2B-5386-5E80-DAD4-579EA200586C}"/>
          </ac:spMkLst>
        </pc:spChg>
        <pc:spChg chg="mod">
          <ac:chgData name="Ryterski Finn (HNE US-MI-PB-BO)" userId="efff052d-68b9-4e8d-b65b-45dff653056d" providerId="ADAL" clId="{870BDC5B-2E94-425D-B3D4-696163FAE54F}" dt="2025-04-07T10:02:29.333" v="35227" actId="20577"/>
          <ac:spMkLst>
            <pc:docMk/>
            <pc:sldMk cId="2014990854" sldId="4178"/>
            <ac:spMk id="43" creationId="{0504C66E-29A3-4884-A9BC-281DC8252793}"/>
          </ac:spMkLst>
        </pc:spChg>
        <pc:spChg chg="mod ord">
          <ac:chgData name="Ryterski Finn (HNE US-MI-PB-BO)" userId="efff052d-68b9-4e8d-b65b-45dff653056d" providerId="ADAL" clId="{870BDC5B-2E94-425D-B3D4-696163FAE54F}" dt="2025-04-07T08:48:15.768" v="31106"/>
          <ac:spMkLst>
            <pc:docMk/>
            <pc:sldMk cId="2014990854" sldId="4178"/>
            <ac:spMk id="46" creationId="{7591D295-6C5B-13B2-D33F-E7142D8318D1}"/>
          </ac:spMkLst>
        </pc:spChg>
        <pc:spChg chg="mod ord">
          <ac:chgData name="Ryterski Finn (HNE US-MI-PB-BO)" userId="efff052d-68b9-4e8d-b65b-45dff653056d" providerId="ADAL" clId="{870BDC5B-2E94-425D-B3D4-696163FAE54F}" dt="2025-04-07T08:48:15.754" v="31079"/>
          <ac:spMkLst>
            <pc:docMk/>
            <pc:sldMk cId="2014990854" sldId="4178"/>
            <ac:spMk id="48" creationId="{CD2C35C4-304F-E886-1EEA-708A08E259EE}"/>
          </ac:spMkLst>
        </pc:spChg>
        <pc:spChg chg="mod">
          <ac:chgData name="Ryterski Finn (HNE US-MI-PB-BO)" userId="efff052d-68b9-4e8d-b65b-45dff653056d" providerId="ADAL" clId="{870BDC5B-2E94-425D-B3D4-696163FAE54F}" dt="2025-04-07T08:48:15.769" v="31107"/>
          <ac:spMkLst>
            <pc:docMk/>
            <pc:sldMk cId="2014990854" sldId="4178"/>
            <ac:spMk id="49" creationId="{33E8889C-1F17-2EC6-FFBD-C9B9A728ACF7}"/>
          </ac:spMkLst>
        </pc:spChg>
        <pc:spChg chg="mod">
          <ac:chgData name="Ryterski Finn (HNE US-MI-PB-BO)" userId="efff052d-68b9-4e8d-b65b-45dff653056d" providerId="ADAL" clId="{870BDC5B-2E94-425D-B3D4-696163FAE54F}" dt="2025-04-07T09:29:14.741" v="33873"/>
          <ac:spMkLst>
            <pc:docMk/>
            <pc:sldMk cId="2014990854" sldId="4178"/>
            <ac:spMk id="51" creationId="{FCA5D54F-B428-D85D-294A-C89467A424AD}"/>
          </ac:spMkLst>
        </pc:spChg>
        <pc:spChg chg="mod ord">
          <ac:chgData name="Ryterski Finn (HNE US-MI-PB-BO)" userId="efff052d-68b9-4e8d-b65b-45dff653056d" providerId="ADAL" clId="{870BDC5B-2E94-425D-B3D4-696163FAE54F}" dt="2025-04-07T08:48:15.773" v="31114"/>
          <ac:spMkLst>
            <pc:docMk/>
            <pc:sldMk cId="2014990854" sldId="4178"/>
            <ac:spMk id="55" creationId="{F81E5070-3FBD-5F63-DAF7-B0684499EADF}"/>
          </ac:spMkLst>
        </pc:spChg>
        <pc:spChg chg="mod ord">
          <ac:chgData name="Ryterski Finn (HNE US-MI-PB-BO)" userId="efff052d-68b9-4e8d-b65b-45dff653056d" providerId="ADAL" clId="{870BDC5B-2E94-425D-B3D4-696163FAE54F}" dt="2025-04-07T08:48:15.774" v="31116"/>
          <ac:spMkLst>
            <pc:docMk/>
            <pc:sldMk cId="2014990854" sldId="4178"/>
            <ac:spMk id="56" creationId="{96A420C1-F862-EEC5-A80F-5AC1105E208D}"/>
          </ac:spMkLst>
        </pc:spChg>
        <pc:spChg chg="mod ord">
          <ac:chgData name="Ryterski Finn (HNE US-MI-PB-BO)" userId="efff052d-68b9-4e8d-b65b-45dff653056d" providerId="ADAL" clId="{870BDC5B-2E94-425D-B3D4-696163FAE54F}" dt="2025-04-07T08:48:15.775" v="31118"/>
          <ac:spMkLst>
            <pc:docMk/>
            <pc:sldMk cId="2014990854" sldId="4178"/>
            <ac:spMk id="57" creationId="{6135C4EE-0672-3625-E39F-87812C1DD63E}"/>
          </ac:spMkLst>
        </pc:spChg>
        <pc:spChg chg="mod ord">
          <ac:chgData name="Ryterski Finn (HNE US-MI-PB-BO)" userId="efff052d-68b9-4e8d-b65b-45dff653056d" providerId="ADAL" clId="{870BDC5B-2E94-425D-B3D4-696163FAE54F}" dt="2025-04-07T08:48:15.776" v="31120"/>
          <ac:spMkLst>
            <pc:docMk/>
            <pc:sldMk cId="2014990854" sldId="4178"/>
            <ac:spMk id="58" creationId="{07DF77B3-3B25-FE10-E4A0-67655E7CAA69}"/>
          </ac:spMkLst>
        </pc:spChg>
        <pc:spChg chg="mod ord">
          <ac:chgData name="Ryterski Finn (HNE US-MI-PB-BO)" userId="efff052d-68b9-4e8d-b65b-45dff653056d" providerId="ADAL" clId="{870BDC5B-2E94-425D-B3D4-696163FAE54F}" dt="2025-04-07T10:01:57.325" v="35226" actId="20577"/>
          <ac:spMkLst>
            <pc:docMk/>
            <pc:sldMk cId="2014990854" sldId="4178"/>
            <ac:spMk id="73" creationId="{B32A6F13-EE27-66E1-F42C-4F12D017E800}"/>
          </ac:spMkLst>
        </pc:spChg>
        <pc:spChg chg="mod ord">
          <ac:chgData name="Ryterski Finn (HNE US-MI-PB-BO)" userId="efff052d-68b9-4e8d-b65b-45dff653056d" providerId="ADAL" clId="{870BDC5B-2E94-425D-B3D4-696163FAE54F}" dt="2025-04-07T08:48:15.754" v="31081"/>
          <ac:spMkLst>
            <pc:docMk/>
            <pc:sldMk cId="2014990854" sldId="4178"/>
            <ac:spMk id="101" creationId="{72D5B97F-74E8-87B0-58D1-CAE4037F948A}"/>
          </ac:spMkLst>
        </pc:spChg>
        <pc:spChg chg="mod ord">
          <ac:chgData name="Ryterski Finn (HNE US-MI-PB-BO)" userId="efff052d-68b9-4e8d-b65b-45dff653056d" providerId="ADAL" clId="{870BDC5B-2E94-425D-B3D4-696163FAE54F}" dt="2025-04-07T08:48:15.755" v="31083"/>
          <ac:spMkLst>
            <pc:docMk/>
            <pc:sldMk cId="2014990854" sldId="4178"/>
            <ac:spMk id="102" creationId="{3F14D514-97AC-720B-6BFE-D7097434AD97}"/>
          </ac:spMkLst>
        </pc:spChg>
        <pc:spChg chg="mod ord">
          <ac:chgData name="Ryterski Finn (HNE US-MI-PB-BO)" userId="efff052d-68b9-4e8d-b65b-45dff653056d" providerId="ADAL" clId="{870BDC5B-2E94-425D-B3D4-696163FAE54F}" dt="2025-04-07T08:48:15.756" v="31085"/>
          <ac:spMkLst>
            <pc:docMk/>
            <pc:sldMk cId="2014990854" sldId="4178"/>
            <ac:spMk id="103" creationId="{C88458F1-34B1-E851-40D0-1887A321B4D4}"/>
          </ac:spMkLst>
        </pc:spChg>
        <pc:spChg chg="mod ord">
          <ac:chgData name="Ryterski Finn (HNE US-MI-PB-BO)" userId="efff052d-68b9-4e8d-b65b-45dff653056d" providerId="ADAL" clId="{870BDC5B-2E94-425D-B3D4-696163FAE54F}" dt="2025-04-07T08:48:15.757" v="31087"/>
          <ac:spMkLst>
            <pc:docMk/>
            <pc:sldMk cId="2014990854" sldId="4178"/>
            <ac:spMk id="104" creationId="{F7DBA3F9-AF04-ED6F-F9BC-8F84451A98D7}"/>
          </ac:spMkLst>
        </pc:spChg>
        <pc:spChg chg="mod ord">
          <ac:chgData name="Ryterski Finn (HNE US-MI-PB-BO)" userId="efff052d-68b9-4e8d-b65b-45dff653056d" providerId="ADAL" clId="{870BDC5B-2E94-425D-B3D4-696163FAE54F}" dt="2025-04-07T08:48:15.761" v="31093"/>
          <ac:spMkLst>
            <pc:docMk/>
            <pc:sldMk cId="2014990854" sldId="4178"/>
            <ac:spMk id="107" creationId="{AC7EEAAA-6D89-4BE6-9A78-AEC20A704064}"/>
          </ac:spMkLst>
        </pc:spChg>
        <pc:spChg chg="mod">
          <ac:chgData name="Ryterski Finn (HNE US-MI-PB-BO)" userId="efff052d-68b9-4e8d-b65b-45dff653056d" providerId="ADAL" clId="{870BDC5B-2E94-425D-B3D4-696163FAE54F}" dt="2025-04-07T08:48:15.762" v="31094"/>
          <ac:spMkLst>
            <pc:docMk/>
            <pc:sldMk cId="2014990854" sldId="4178"/>
            <ac:spMk id="109" creationId="{93A48E63-7A75-756D-D42A-C8398747CC8F}"/>
          </ac:spMkLst>
        </pc:spChg>
        <pc:spChg chg="mod ord">
          <ac:chgData name="Ryterski Finn (HNE US-MI-PB-BO)" userId="efff052d-68b9-4e8d-b65b-45dff653056d" providerId="ADAL" clId="{870BDC5B-2E94-425D-B3D4-696163FAE54F}" dt="2025-04-07T08:48:15.764" v="31098"/>
          <ac:spMkLst>
            <pc:docMk/>
            <pc:sldMk cId="2014990854" sldId="4178"/>
            <ac:spMk id="111" creationId="{5A35D821-91DD-307E-D544-A04D981512C1}"/>
          </ac:spMkLst>
        </pc:spChg>
        <pc:grpChg chg="mod ord">
          <ac:chgData name="Ryterski Finn (HNE US-MI-PB-BO)" userId="efff052d-68b9-4e8d-b65b-45dff653056d" providerId="ADAL" clId="{870BDC5B-2E94-425D-B3D4-696163FAE54F}" dt="2025-04-07T08:48:15.752" v="31075"/>
          <ac:grpSpMkLst>
            <pc:docMk/>
            <pc:sldMk cId="2014990854" sldId="4178"/>
            <ac:grpSpMk id="29" creationId="{1184857F-8FF6-8346-79B4-A6C601E71127}"/>
          </ac:grpSpMkLst>
        </pc:grpChg>
        <pc:grpChg chg="mod ord">
          <ac:chgData name="Ryterski Finn (HNE US-MI-PB-BO)" userId="efff052d-68b9-4e8d-b65b-45dff653056d" providerId="ADAL" clId="{870BDC5B-2E94-425D-B3D4-696163FAE54F}" dt="2025-04-07T08:48:15.753" v="31077"/>
          <ac:grpSpMkLst>
            <pc:docMk/>
            <pc:sldMk cId="2014990854" sldId="4178"/>
            <ac:grpSpMk id="42" creationId="{F38921F6-A5BD-3B7D-C7E5-CEA094A7B123}"/>
          </ac:grpSpMkLst>
        </pc:grpChg>
        <pc:grpChg chg="mod ord">
          <ac:chgData name="Ryterski Finn (HNE US-MI-PB-BO)" userId="efff052d-68b9-4e8d-b65b-45dff653056d" providerId="ADAL" clId="{870BDC5B-2E94-425D-B3D4-696163FAE54F}" dt="2025-04-07T08:48:15.778" v="31122"/>
          <ac:grpSpMkLst>
            <pc:docMk/>
            <pc:sldMk cId="2014990854" sldId="4178"/>
            <ac:grpSpMk id="59" creationId="{C1982493-9339-AD65-3E65-1D74846E3646}"/>
          </ac:grpSpMkLst>
        </pc:grpChg>
        <pc:grpChg chg="mod ord">
          <ac:chgData name="Ryterski Finn (HNE US-MI-PB-BO)" userId="efff052d-68b9-4e8d-b65b-45dff653056d" providerId="ADAL" clId="{870BDC5B-2E94-425D-B3D4-696163FAE54F}" dt="2025-04-07T08:48:15.779" v="31124"/>
          <ac:grpSpMkLst>
            <pc:docMk/>
            <pc:sldMk cId="2014990854" sldId="4178"/>
            <ac:grpSpMk id="70" creationId="{07F7C52B-1599-FC58-A815-19374DC35988}"/>
          </ac:grpSpMkLst>
        </pc:grpChg>
        <pc:graphicFrameChg chg="mod">
          <ac:chgData name="Ryterski Finn (HNE US-MI-PB-BO)" userId="efff052d-68b9-4e8d-b65b-45dff653056d" providerId="ADAL" clId="{870BDC5B-2E94-425D-B3D4-696163FAE54F}" dt="2025-04-07T09:29:14.752" v="33876"/>
          <ac:graphicFrameMkLst>
            <pc:docMk/>
            <pc:sldMk cId="2014990854" sldId="4178"/>
            <ac:graphicFrameMk id="23" creationId="{579C0A80-4AED-5AC7-5A60-C63ABADA38A3}"/>
          </ac:graphicFrameMkLst>
        </pc:graphicFrameChg>
        <pc:cxnChg chg="mod ord">
          <ac:chgData name="Ryterski Finn (HNE US-MI-PB-BO)" userId="efff052d-68b9-4e8d-b65b-45dff653056d" providerId="ADAL" clId="{870BDC5B-2E94-425D-B3D4-696163FAE54F}" dt="2025-04-07T08:48:15.765" v="31100"/>
          <ac:cxnSpMkLst>
            <pc:docMk/>
            <pc:sldMk cId="2014990854" sldId="4178"/>
            <ac:cxnSpMk id="3" creationId="{DEB72B98-C15C-0956-25E5-62DB7292E949}"/>
          </ac:cxnSpMkLst>
        </pc:cxnChg>
        <pc:cxnChg chg="mod ord">
          <ac:chgData name="Ryterski Finn (HNE US-MI-PB-BO)" userId="efff052d-68b9-4e8d-b65b-45dff653056d" providerId="ADAL" clId="{870BDC5B-2E94-425D-B3D4-696163FAE54F}" dt="2025-04-07T08:48:15.766" v="31102"/>
          <ac:cxnSpMkLst>
            <pc:docMk/>
            <pc:sldMk cId="2014990854" sldId="4178"/>
            <ac:cxnSpMk id="4" creationId="{C90C1D7E-B3C4-792D-C30D-EBE67381AA97}"/>
          </ac:cxnSpMkLst>
        </pc:cxnChg>
        <pc:cxnChg chg="mod ord">
          <ac:chgData name="Ryterski Finn (HNE US-MI-PB-BO)" userId="efff052d-68b9-4e8d-b65b-45dff653056d" providerId="ADAL" clId="{870BDC5B-2E94-425D-B3D4-696163FAE54F}" dt="2025-04-07T08:48:15.758" v="31089"/>
          <ac:cxnSpMkLst>
            <pc:docMk/>
            <pc:sldMk cId="2014990854" sldId="4178"/>
            <ac:cxnSpMk id="105" creationId="{FBF0959B-410F-5179-DBBD-A00B500CD5EF}"/>
          </ac:cxnSpMkLst>
        </pc:cxnChg>
        <pc:cxnChg chg="mod ord">
          <ac:chgData name="Ryterski Finn (HNE US-MI-PB-BO)" userId="efff052d-68b9-4e8d-b65b-45dff653056d" providerId="ADAL" clId="{870BDC5B-2E94-425D-B3D4-696163FAE54F}" dt="2025-04-07T08:48:15.759" v="31091"/>
          <ac:cxnSpMkLst>
            <pc:docMk/>
            <pc:sldMk cId="2014990854" sldId="4178"/>
            <ac:cxnSpMk id="106" creationId="{E8953AF6-24DC-CA06-CF39-D5C42C9D8D75}"/>
          </ac:cxnSpMkLst>
        </pc:cxnChg>
      </pc:sldChg>
      <pc:sldChg chg="addSp delSp modSp mod">
        <pc:chgData name="Ryterski Finn (HNE US-MI-PB-BO)" userId="efff052d-68b9-4e8d-b65b-45dff653056d" providerId="ADAL" clId="{870BDC5B-2E94-425D-B3D4-696163FAE54F}" dt="2025-04-07T10:03:50.362" v="35228" actId="20577"/>
        <pc:sldMkLst>
          <pc:docMk/>
          <pc:sldMk cId="2445297191" sldId="4180"/>
        </pc:sldMkLst>
        <pc:spChg chg="add mod">
          <ac:chgData name="Ryterski Finn (HNE US-MI-PB-BO)" userId="efff052d-68b9-4e8d-b65b-45dff653056d" providerId="ADAL" clId="{870BDC5B-2E94-425D-B3D4-696163FAE54F}" dt="2025-04-07T08:55:53.838" v="31721"/>
          <ac:spMkLst>
            <pc:docMk/>
            <pc:sldMk cId="2445297191" sldId="4180"/>
            <ac:spMk id="2" creationId="{2D4B59D5-C656-3FE0-8262-B415E5559325}"/>
          </ac:spMkLst>
        </pc:spChg>
        <pc:spChg chg="del">
          <ac:chgData name="Ryterski Finn (HNE US-MI-PB-BO)" userId="efff052d-68b9-4e8d-b65b-45dff653056d" providerId="ADAL" clId="{870BDC5B-2E94-425D-B3D4-696163FAE54F}" dt="2025-04-07T08:55:53.617" v="31720" actId="478"/>
          <ac:spMkLst>
            <pc:docMk/>
            <pc:sldMk cId="2445297191" sldId="4180"/>
            <ac:spMk id="4" creationId="{3582B13B-B1D0-27C0-4FE0-7AB1339946BB}"/>
          </ac:spMkLst>
        </pc:spChg>
        <pc:spChg chg="add mod">
          <ac:chgData name="Ryterski Finn (HNE US-MI-PB-BO)" userId="efff052d-68b9-4e8d-b65b-45dff653056d" providerId="ADAL" clId="{870BDC5B-2E94-425D-B3D4-696163FAE54F}" dt="2025-04-07T09:20:26.254" v="33123"/>
          <ac:spMkLst>
            <pc:docMk/>
            <pc:sldMk cId="2445297191" sldId="4180"/>
            <ac:spMk id="6" creationId="{9BF319AC-BD6E-E042-CB31-394894480517}"/>
          </ac:spMkLst>
        </pc:spChg>
        <pc:spChg chg="add del">
          <ac:chgData name="Ryterski Finn (HNE US-MI-PB-BO)" userId="efff052d-68b9-4e8d-b65b-45dff653056d" providerId="ADAL" clId="{870BDC5B-2E94-425D-B3D4-696163FAE54F}" dt="2025-04-07T09:20:34.545" v="33125" actId="22"/>
          <ac:spMkLst>
            <pc:docMk/>
            <pc:sldMk cId="2445297191" sldId="4180"/>
            <ac:spMk id="10" creationId="{9FAED2B0-EC6A-106E-C05C-8844024C5CE7}"/>
          </ac:spMkLst>
        </pc:spChg>
        <pc:spChg chg="add del">
          <ac:chgData name="Ryterski Finn (HNE US-MI-PB-BO)" userId="efff052d-68b9-4e8d-b65b-45dff653056d" providerId="ADAL" clId="{870BDC5B-2E94-425D-B3D4-696163FAE54F}" dt="2025-04-07T09:20:42.115" v="33127" actId="22"/>
          <ac:spMkLst>
            <pc:docMk/>
            <pc:sldMk cId="2445297191" sldId="4180"/>
            <ac:spMk id="12" creationId="{030177C4-C316-1BBC-30DA-E9189C22A340}"/>
          </ac:spMkLst>
        </pc:spChg>
        <pc:spChg chg="mod">
          <ac:chgData name="Ryterski Finn (HNE US-MI-PB-BO)" userId="efff052d-68b9-4e8d-b65b-45dff653056d" providerId="ADAL" clId="{870BDC5B-2E94-425D-B3D4-696163FAE54F}" dt="2025-04-07T08:42:09.292" v="28608" actId="20577"/>
          <ac:spMkLst>
            <pc:docMk/>
            <pc:sldMk cId="2445297191" sldId="4180"/>
            <ac:spMk id="14" creationId="{47462D32-93D6-6C48-0B15-787E0BF95869}"/>
          </ac:spMkLst>
        </pc:spChg>
        <pc:spChg chg="mod">
          <ac:chgData name="Ryterski Finn (HNE US-MI-PB-BO)" userId="efff052d-68b9-4e8d-b65b-45dff653056d" providerId="ADAL" clId="{870BDC5B-2E94-425D-B3D4-696163FAE54F}" dt="2025-04-07T09:30:29.006" v="33928" actId="20577"/>
          <ac:spMkLst>
            <pc:docMk/>
            <pc:sldMk cId="2445297191" sldId="4180"/>
            <ac:spMk id="17" creationId="{17EA08C2-7D47-D10A-4AC1-D036172DD086}"/>
          </ac:spMkLst>
        </pc:spChg>
        <pc:spChg chg="mod">
          <ac:chgData name="Ryterski Finn (HNE US-MI-PB-BO)" userId="efff052d-68b9-4e8d-b65b-45dff653056d" providerId="ADAL" clId="{870BDC5B-2E94-425D-B3D4-696163FAE54F}" dt="2025-04-07T09:21:01.188" v="33134" actId="20577"/>
          <ac:spMkLst>
            <pc:docMk/>
            <pc:sldMk cId="2445297191" sldId="4180"/>
            <ac:spMk id="18" creationId="{384E6551-B6FD-6726-8798-723B00EA735E}"/>
          </ac:spMkLst>
        </pc:spChg>
        <pc:spChg chg="mod">
          <ac:chgData name="Ryterski Finn (HNE US-MI-PB-BO)" userId="efff052d-68b9-4e8d-b65b-45dff653056d" providerId="ADAL" clId="{870BDC5B-2E94-425D-B3D4-696163FAE54F}" dt="2025-04-07T09:23:20.233" v="33295" actId="20577"/>
          <ac:spMkLst>
            <pc:docMk/>
            <pc:sldMk cId="2445297191" sldId="4180"/>
            <ac:spMk id="22" creationId="{ECACA689-4B84-7885-97CA-E8A425AFCC08}"/>
          </ac:spMkLst>
        </pc:spChg>
        <pc:spChg chg="mod">
          <ac:chgData name="Ryterski Finn (HNE US-MI-PB-BO)" userId="efff052d-68b9-4e8d-b65b-45dff653056d" providerId="ADAL" clId="{870BDC5B-2E94-425D-B3D4-696163FAE54F}" dt="2025-04-07T10:03:50.362" v="35228" actId="20577"/>
          <ac:spMkLst>
            <pc:docMk/>
            <pc:sldMk cId="2445297191" sldId="4180"/>
            <ac:spMk id="25" creationId="{EB12010C-1684-A4D7-6A07-0129724934EC}"/>
          </ac:spMkLst>
        </pc:spChg>
        <pc:grpChg chg="del">
          <ac:chgData name="Ryterski Finn (HNE US-MI-PB-BO)" userId="efff052d-68b9-4e8d-b65b-45dff653056d" providerId="ADAL" clId="{870BDC5B-2E94-425D-B3D4-696163FAE54F}" dt="2025-04-07T09:20:46.892" v="33128" actId="478"/>
          <ac:grpSpMkLst>
            <pc:docMk/>
            <pc:sldMk cId="2445297191" sldId="4180"/>
            <ac:grpSpMk id="13" creationId="{8E668C8A-9CE1-5CF5-98B3-933BB8A76BF5}"/>
          </ac:grpSpMkLst>
        </pc:grpChg>
        <pc:grpChg chg="add mod">
          <ac:chgData name="Ryterski Finn (HNE US-MI-PB-BO)" userId="efff052d-68b9-4e8d-b65b-45dff653056d" providerId="ADAL" clId="{870BDC5B-2E94-425D-B3D4-696163FAE54F}" dt="2025-04-07T09:20:57.092" v="33132" actId="1076"/>
          <ac:grpSpMkLst>
            <pc:docMk/>
            <pc:sldMk cId="2445297191" sldId="4180"/>
            <ac:grpSpMk id="16" creationId="{3FB8D0E6-9378-347D-07DD-8CD4E7DDA483}"/>
          </ac:grpSpMkLst>
        </pc:grpChg>
      </pc:sldChg>
      <pc:sldChg chg="addSp delSp modSp del mod">
        <pc:chgData name="Ryterski Finn (HNE US-MI-PB-BO)" userId="efff052d-68b9-4e8d-b65b-45dff653056d" providerId="ADAL" clId="{870BDC5B-2E94-425D-B3D4-696163FAE54F}" dt="2025-04-07T07:52:13.177" v="23971" actId="2696"/>
        <pc:sldMkLst>
          <pc:docMk/>
          <pc:sldMk cId="1618842808" sldId="4182"/>
        </pc:sldMkLst>
        <pc:spChg chg="del">
          <ac:chgData name="Ryterski Finn (HNE US-MI-PB-BO)" userId="efff052d-68b9-4e8d-b65b-45dff653056d" providerId="ADAL" clId="{870BDC5B-2E94-425D-B3D4-696163FAE54F}" dt="2025-04-07T07:05:10.172" v="21088" actId="478"/>
          <ac:spMkLst>
            <pc:docMk/>
            <pc:sldMk cId="1618842808" sldId="4182"/>
            <ac:spMk id="2" creationId="{00000000-0000-0000-0000-000000000000}"/>
          </ac:spMkLst>
        </pc:spChg>
        <pc:spChg chg="add mod">
          <ac:chgData name="Ryterski Finn (HNE US-MI-PB-BO)" userId="efff052d-68b9-4e8d-b65b-45dff653056d" providerId="ADAL" clId="{870BDC5B-2E94-425D-B3D4-696163FAE54F}" dt="2025-04-07T07:05:10.367" v="21089"/>
          <ac:spMkLst>
            <pc:docMk/>
            <pc:sldMk cId="1618842808" sldId="4182"/>
            <ac:spMk id="6" creationId="{261996FD-232F-781F-CEA9-85B54A14357E}"/>
          </ac:spMkLst>
        </pc:spChg>
      </pc:sldChg>
      <pc:sldChg chg="addSp delSp modSp mod">
        <pc:chgData name="Ryterski Finn (HNE US-MI-PB-BO)" userId="efff052d-68b9-4e8d-b65b-45dff653056d" providerId="ADAL" clId="{870BDC5B-2E94-425D-B3D4-696163FAE54F}" dt="2025-04-09T07:31:33.956" v="46269" actId="948"/>
        <pc:sldMkLst>
          <pc:docMk/>
          <pc:sldMk cId="229985416" sldId="4186"/>
        </pc:sldMkLst>
        <pc:spChg chg="mod ord">
          <ac:chgData name="Ryterski Finn (HNE US-MI-PB-BO)" userId="efff052d-68b9-4e8d-b65b-45dff653056d" providerId="ADAL" clId="{870BDC5B-2E94-425D-B3D4-696163FAE54F}" dt="2025-04-09T07:31:21.839" v="45483"/>
          <ac:spMkLst>
            <pc:docMk/>
            <pc:sldMk cId="229985416" sldId="4186"/>
            <ac:spMk id="2" creationId="{1A746013-D676-EB3D-D404-11A87BCDF425}"/>
          </ac:spMkLst>
        </pc:spChg>
        <pc:spChg chg="mod ord">
          <ac:chgData name="Ryterski Finn (HNE US-MI-PB-BO)" userId="efff052d-68b9-4e8d-b65b-45dff653056d" providerId="ADAL" clId="{870BDC5B-2E94-425D-B3D4-696163FAE54F}" dt="2025-04-09T07:31:21.839" v="45483"/>
          <ac:spMkLst>
            <pc:docMk/>
            <pc:sldMk cId="229985416" sldId="4186"/>
            <ac:spMk id="3" creationId="{00000000-0000-0000-0000-000000000000}"/>
          </ac:spMkLst>
        </pc:spChg>
        <pc:spChg chg="add del mod modVis">
          <ac:chgData name="Ryterski Finn (HNE US-MI-PB-BO)" userId="efff052d-68b9-4e8d-b65b-45dff653056d" providerId="ADAL" clId="{870BDC5B-2E94-425D-B3D4-696163FAE54F}" dt="2025-04-08T14:49:31.509" v="36942"/>
          <ac:spMkLst>
            <pc:docMk/>
            <pc:sldMk cId="229985416" sldId="4186"/>
            <ac:spMk id="4" creationId="{512B2D5C-FDE1-DDFD-411A-8DF4BB6B1B68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6:14:31.726" v="5333"/>
          <ac:spMkLst>
            <pc:docMk/>
            <pc:sldMk cId="229985416" sldId="4186"/>
            <ac:spMk id="4" creationId="{B46DEDC9-BFC8-787E-07B5-97C8EB49B7D3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7:18:59.570" v="1503" actId="962"/>
          <ac:spMkLst>
            <pc:docMk/>
            <pc:sldMk cId="229985416" sldId="4186"/>
            <ac:spMk id="4" creationId="{FD629F51-DA07-41C2-81AB-494EB4D092F9}"/>
          </ac:spMkLst>
        </pc:spChg>
        <pc:spChg chg="mod ord">
          <ac:chgData name="Ryterski Finn (HNE US-MI-PB-BO)" userId="efff052d-68b9-4e8d-b65b-45dff653056d" providerId="ADAL" clId="{870BDC5B-2E94-425D-B3D4-696163FAE54F}" dt="2025-04-09T07:31:33.956" v="46269" actId="948"/>
          <ac:spMkLst>
            <pc:docMk/>
            <pc:sldMk cId="229985416" sldId="4186"/>
            <ac:spMk id="5" creationId="{00000000-0000-0000-0000-000000000000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6" creationId="{085C9EAE-281D-00D5-542D-B2DAA82EBA26}"/>
          </ac:spMkLst>
        </pc:spChg>
        <pc:spChg chg="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7" creationId="{A02F2B2A-8DEA-D90E-0220-CF6AB26D4930}"/>
          </ac:spMkLst>
        </pc:spChg>
        <pc:spChg chg="mo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8" creationId="{4A92F73E-4042-3389-38FB-33109205FAA6}"/>
          </ac:spMkLst>
        </pc:spChg>
        <pc:spChg chg="mo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9" creationId="{A1A64A7D-0B56-DB37-50D3-ED869DEDBBE7}"/>
          </ac:spMkLst>
        </pc:spChg>
        <pc:spChg chg="mo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0" creationId="{4886CA2F-BD85-69E6-9026-90753C0384B2}"/>
          </ac:spMkLst>
        </pc:spChg>
        <pc:spChg chg="mo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1" creationId="{84C8D6DB-7205-F8A2-035C-EDD4BF3B6D25}"/>
          </ac:spMkLst>
        </pc:spChg>
        <pc:spChg chg="mo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2" creationId="{40500C8C-8F77-5100-9279-36B6AC4A84BD}"/>
          </ac:spMkLst>
        </pc:spChg>
        <pc:spChg chg="mo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3" creationId="{C7F1F852-2EF1-12F5-DED6-94A1555E2069}"/>
          </ac:spMkLst>
        </pc:spChg>
        <pc:spChg chg="mo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4" creationId="{45CC7EDF-F43B-BFCE-0D2B-1092AF078574}"/>
          </ac:spMkLst>
        </pc:spChg>
        <pc:spChg chg="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5" creationId="{720B8CEE-D507-9F33-4C19-ED2A4212ADE8}"/>
          </ac:spMkLst>
        </pc:spChg>
        <pc:spChg chg="mo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6" creationId="{C3D18EB8-53C1-FE95-5DF3-028C8088F14F}"/>
          </ac:spMkLst>
        </pc:spChg>
        <pc:spChg chg="mo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7" creationId="{6AE5C308-C3B8-F680-EEC3-CD8F5C95D008}"/>
          </ac:spMkLst>
        </pc:spChg>
        <pc:spChg chg="add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8" creationId="{0A609897-7157-84DC-538B-92A059B1FD96}"/>
          </ac:spMkLst>
        </pc:spChg>
        <pc:spChg chg="del mod ord">
          <ac:chgData name="Ryterski Finn (HNE US-MI-PB-BO)" userId="efff052d-68b9-4e8d-b65b-45dff653056d" providerId="ADAL" clId="{870BDC5B-2E94-425D-B3D4-696163FAE54F}" dt="2025-04-07T07:04:01.059" v="21074" actId="478"/>
          <ac:spMkLst>
            <pc:docMk/>
            <pc:sldMk cId="229985416" sldId="4186"/>
            <ac:spMk id="18" creationId="{CD5438B0-CE1A-A288-C39B-9BA9084F96EB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9" creationId="{E1E3645D-3679-F0AA-A047-13C002527C72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20" creationId="{4A516439-052F-2B1E-7590-E91CE76AC203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21" creationId="{CBEF2430-6DBD-B6CE-270E-7E06394ABD4E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22" creationId="{8B70FFF9-6C76-4EE0-EA9F-DB4E806196E6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23" creationId="{4F39C171-0C9F-6116-E6EA-CB557085EE0B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27" creationId="{B749D217-F97D-D02B-E875-E2C2F37078A4}"/>
          </ac:spMkLst>
        </pc:spChg>
        <pc:spChg chg="mod ord">
          <ac:chgData name="Ryterski Finn (HNE US-MI-PB-BO)" userId="efff052d-68b9-4e8d-b65b-45dff653056d" providerId="ADAL" clId="{870BDC5B-2E94-425D-B3D4-696163FAE54F}" dt="2025-04-09T07:31:21.839" v="45483"/>
          <ac:spMkLst>
            <pc:docMk/>
            <pc:sldMk cId="229985416" sldId="4186"/>
            <ac:spMk id="29" creationId="{46A40568-69C4-3AFF-8477-26573B09DF19}"/>
          </ac:spMkLst>
        </pc:spChg>
        <pc:spChg chg="mo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30" creationId="{EC8257CF-65FE-38C1-5B85-A69BBB41B523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31" creationId="{47EBBAAA-A78B-A645-7AFD-7AAD18F6F954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32" creationId="{387D2B36-8CB8-42E1-30AF-AD071AACCE67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33" creationId="{1CE97BD0-FF8F-C9A1-C8E9-31DC6CA9B4F4}"/>
          </ac:spMkLst>
        </pc:spChg>
        <pc:spChg chg="add mod ord">
          <ac:chgData name="Ryterski Finn (HNE US-MI-PB-BO)" userId="efff052d-68b9-4e8d-b65b-45dff653056d" providerId="ADAL" clId="{870BDC5B-2E94-425D-B3D4-696163FAE54F}" dt="2025-04-03T07:18:59.560" v="1488" actId="20577"/>
          <ac:spMkLst>
            <pc:docMk/>
            <pc:sldMk cId="229985416" sldId="4186"/>
            <ac:spMk id="34" creationId="{0202A30C-7C29-69FB-A0A4-0229F49C3C96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6:18:23.967" v="6379"/>
          <ac:spMkLst>
            <pc:docMk/>
            <pc:sldMk cId="229985416" sldId="4186"/>
            <ac:spMk id="34" creationId="{7A3F300A-FC94-5C7C-D4A9-64BDA27628D3}"/>
          </ac:spMkLst>
        </pc:spChg>
        <pc:spChg chg="add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34" creationId="{997CD735-ACA2-01AC-1B32-C102F759494F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38" creationId="{109BD065-5428-9645-3FCA-10D0D9510B05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39" creationId="{BB607C5F-236A-8F38-A841-DFB9F999F51B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41" creationId="{98EB0351-7D7A-0461-A1AA-2791D100799F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42" creationId="{3A812F04-7AF3-7AB3-F273-2F0126C6E2D1}"/>
          </ac:spMkLst>
        </pc:spChg>
        <pc:spChg chg="mod ord">
          <ac:chgData name="Ryterski Finn (HNE US-MI-PB-BO)" userId="efff052d-68b9-4e8d-b65b-45dff653056d" providerId="ADAL" clId="{870BDC5B-2E94-425D-B3D4-696163FAE54F}" dt="2025-04-09T07:31:21.839" v="45483"/>
          <ac:spMkLst>
            <pc:docMk/>
            <pc:sldMk cId="229985416" sldId="4186"/>
            <ac:spMk id="44" creationId="{1B827EE3-F36E-E97F-BA49-F829AD21DF95}"/>
          </ac:spMkLst>
        </pc:spChg>
        <pc:spChg chg="mod ord">
          <ac:chgData name="Ryterski Finn (HNE US-MI-PB-BO)" userId="efff052d-68b9-4e8d-b65b-45dff653056d" providerId="ADAL" clId="{870BDC5B-2E94-425D-B3D4-696163FAE54F}" dt="2025-04-09T07:31:21.839" v="45483"/>
          <ac:spMkLst>
            <pc:docMk/>
            <pc:sldMk cId="229985416" sldId="4186"/>
            <ac:spMk id="45" creationId="{864E5F6A-3A24-2CE2-1258-A0CDA0CB4DE8}"/>
          </ac:spMkLst>
        </pc:spChg>
        <pc:spChg chg="add mod ord">
          <ac:chgData name="Ryterski Finn (HNE US-MI-PB-BO)" userId="efff052d-68b9-4e8d-b65b-45dff653056d" providerId="ADAL" clId="{870BDC5B-2E94-425D-B3D4-696163FAE54F}" dt="2025-04-09T07:31:21.839" v="45483"/>
          <ac:spMkLst>
            <pc:docMk/>
            <pc:sldMk cId="229985416" sldId="4186"/>
            <ac:spMk id="46" creationId="{7B89C014-78B0-173E-5829-24C7D66CEEDE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7:19:08.687" v="2249"/>
          <ac:spMkLst>
            <pc:docMk/>
            <pc:sldMk cId="229985416" sldId="4186"/>
            <ac:spMk id="46" creationId="{A689BB0A-80D4-0CFF-6709-B0DBF712EC04}"/>
          </ac:spMkLst>
        </pc:spChg>
        <pc:spChg chg="del mo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47" creationId="{F683550A-03E9-A71F-7F21-76382C47594E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48" creationId="{C628A70D-AA6F-C2D8-8E4A-7B4AED1B27ED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50" creationId="{B6A11DC3-C5FD-1B78-68CF-1CD7CA39331C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51" creationId="{5DD10E81-F9B5-B260-578C-3A8D57CB56A1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52" creationId="{D9B276EF-2067-BF83-2041-5E67A9190985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53" creationId="{995A1B85-4B8A-7B03-BEED-0835027B3F26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54" creationId="{AAD0812E-B56F-A44B-B9C4-21C2EAF850A3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55" creationId="{6A51BAE9-DA53-FB71-21A0-4BFA939AAAC0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56" creationId="{282C9A1A-9D9B-F27A-6B37-86A16596DD3B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57" creationId="{FDBCB102-B418-8A84-A079-96DA8225F775}"/>
          </ac:spMkLst>
        </pc:spChg>
        <pc:spChg chg="del mo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58" creationId="{32916FBA-DA06-E8FE-AAC3-FEDD2B275208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67" creationId="{54ACA0D1-6056-0EC1-6CC6-E9CD80C10C4B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956" v="46267" actId="948"/>
          <ac:spMkLst>
            <pc:docMk/>
            <pc:sldMk cId="229985416" sldId="4186"/>
            <ac:spMk id="68" creationId="{5B97DEB2-E1D6-D88B-2E53-9D658BCD38D3}"/>
          </ac:spMkLst>
        </pc:spChg>
        <pc:spChg chg="mod ord">
          <ac:chgData name="Ryterski Finn (HNE US-MI-PB-BO)" userId="efff052d-68b9-4e8d-b65b-45dff653056d" providerId="ADAL" clId="{870BDC5B-2E94-425D-B3D4-696163FAE54F}" dt="2025-04-09T07:31:21.839" v="45483"/>
          <ac:spMkLst>
            <pc:docMk/>
            <pc:sldMk cId="229985416" sldId="4186"/>
            <ac:spMk id="70" creationId="{4ACA65F9-9693-295D-55AD-F7EA307194C5}"/>
          </ac:spMkLst>
        </pc:spChg>
        <pc:spChg chg="mod ord">
          <ac:chgData name="Ryterski Finn (HNE US-MI-PB-BO)" userId="efff052d-68b9-4e8d-b65b-45dff653056d" providerId="ADAL" clId="{870BDC5B-2E94-425D-B3D4-696163FAE54F}" dt="2025-04-09T07:31:21.839" v="45483"/>
          <ac:spMkLst>
            <pc:docMk/>
            <pc:sldMk cId="229985416" sldId="4186"/>
            <ac:spMk id="71" creationId="{A3709C1D-2295-41AA-3EEA-D0FE26D72B33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73" creationId="{7B55FA13-D514-0FB3-17C8-59A77E02FBB8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74" creationId="{9E80D527-6103-CB83-89CE-1BE7ACA37BD7}"/>
          </ac:spMkLst>
        </pc:spChg>
        <pc:spChg chg="add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80" creationId="{3B2DB536-4A37-EE3C-E041-E0D0EE1FB88B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81" creationId="{B391C389-D744-E850-0E9D-023717E3455D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85" creationId="{1B3B77B7-8C0C-FE30-F336-3BAB78D10EAC}"/>
          </ac:spMkLst>
        </pc:spChg>
        <pc:spChg chg="mod ord">
          <ac:chgData name="Ryterski Finn (HNE US-MI-PB-BO)" userId="efff052d-68b9-4e8d-b65b-45dff653056d" providerId="ADAL" clId="{870BDC5B-2E94-425D-B3D4-696163FAE54F}" dt="2025-04-09T07:31:21.839" v="45483"/>
          <ac:spMkLst>
            <pc:docMk/>
            <pc:sldMk cId="229985416" sldId="4186"/>
            <ac:spMk id="96" creationId="{BEE6042F-D4B3-3A68-4080-A1CDC4300103}"/>
          </ac:spMkLst>
        </pc:spChg>
        <pc:spChg chg="add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98" creationId="{4B39DA22-2F0B-0F0D-FE36-5C0B6D4C1ACA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6:20:02.983" v="6896"/>
          <ac:spMkLst>
            <pc:docMk/>
            <pc:sldMk cId="229985416" sldId="4186"/>
            <ac:spMk id="101" creationId="{AFB9065A-D95A-84C2-9C48-7B02E545CC50}"/>
          </ac:spMkLst>
        </pc:spChg>
        <pc:spChg chg="add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01" creationId="{F210669A-7189-9D46-F742-8E61ED510264}"/>
          </ac:spMkLst>
        </pc:spChg>
        <pc:spChg chg="add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02" creationId="{3FDDC88A-955D-CAD1-CEA4-C1B7BA5CD7C8}"/>
          </ac:spMkLst>
        </pc:spChg>
        <pc:spChg chg="mod ord">
          <ac:chgData name="Ryterski Finn (HNE US-MI-PB-BO)" userId="efff052d-68b9-4e8d-b65b-45dff653056d" providerId="ADAL" clId="{870BDC5B-2E94-425D-B3D4-696163FAE54F}" dt="2025-04-09T07:31:21.839" v="45483"/>
          <ac:spMkLst>
            <pc:docMk/>
            <pc:sldMk cId="229985416" sldId="4186"/>
            <ac:spMk id="103" creationId="{5E3F7AA5-8304-39EF-1EA9-D55F5BAD0C8B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6:22:15.422" v="9465"/>
          <ac:spMkLst>
            <pc:docMk/>
            <pc:sldMk cId="229985416" sldId="4186"/>
            <ac:spMk id="104" creationId="{E3BE7372-10F5-3324-5E3E-93EA1C6B835B}"/>
          </ac:spMkLst>
        </pc:spChg>
        <pc:spChg chg="add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04" creationId="{EF51224E-D670-5743-C89F-42C42EA741AE}"/>
          </ac:spMkLst>
        </pc:spChg>
        <pc:spChg chg="mo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06" creationId="{919ACB03-6EC4-BF72-DF95-59E96734CD33}"/>
          </ac:spMkLst>
        </pc:spChg>
        <pc:spChg chg="mo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07" creationId="{FD8F5609-243E-9A1F-83AB-737096BC833C}"/>
          </ac:spMkLst>
        </pc:spChg>
        <pc:spChg chg="mo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08" creationId="{E0CEC09C-8B01-04BF-C799-F43CA8337B9B}"/>
          </ac:spMkLst>
        </pc:spChg>
        <pc:spChg chg="mo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09" creationId="{A0249D08-06E8-37FE-3CB7-9F76DCC41E10}"/>
          </ac:spMkLst>
        </pc:spChg>
        <pc:spChg chg="mo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10" creationId="{8A2D6BCC-DC57-F00F-7C6C-D77E6ECF41B4}"/>
          </ac:spMkLst>
        </pc:spChg>
        <pc:spChg chg="mo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11" creationId="{05058CBE-1FDD-6838-DC36-25996E27278E}"/>
          </ac:spMkLst>
        </pc:spChg>
        <pc:spChg chg="mo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12" creationId="{10E3732E-09C0-00A4-7F4A-D1EAC5DF5DB9}"/>
          </ac:spMkLst>
        </pc:spChg>
        <pc:spChg chg="mo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13" creationId="{9334FE99-28B5-56D4-CBDB-768F8AB674DB}"/>
          </ac:spMkLst>
        </pc:spChg>
        <pc:spChg chg="mo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14" creationId="{D6EA2045-7F11-352E-F188-452D83C83C1C}"/>
          </ac:spMkLst>
        </pc:spChg>
        <pc:spChg chg="mo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15" creationId="{9F6D1331-52A1-FA47-2CAE-150AF3C51008}"/>
          </ac:spMkLst>
        </pc:spChg>
        <pc:spChg chg="mo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16" creationId="{2F4E2EA1-3FE6-C7C0-C27F-38707B1F6CB2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6:49:22.465" v="16923"/>
          <ac:spMkLst>
            <pc:docMk/>
            <pc:sldMk cId="229985416" sldId="4186"/>
            <ac:spMk id="117" creationId="{34810974-EF6F-11D8-C394-A71E031E479A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6:49:25.187" v="17041"/>
          <ac:spMkLst>
            <pc:docMk/>
            <pc:sldMk cId="229985416" sldId="4186"/>
            <ac:spMk id="118" creationId="{34947107-BE1C-763B-56AA-AD44A66789CF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6:59:15.950" v="17670"/>
          <ac:spMkLst>
            <pc:docMk/>
            <pc:sldMk cId="229985416" sldId="4186"/>
            <ac:spMk id="119" creationId="{50CE6013-CB6B-A212-98D0-1B4481E47775}"/>
          </ac:spMkLst>
        </pc:spChg>
        <pc:spChg chg="add mod ord">
          <ac:chgData name="Ryterski Finn (HNE US-MI-PB-BO)" userId="efff052d-68b9-4e8d-b65b-45dff653056d" providerId="ADAL" clId="{870BDC5B-2E94-425D-B3D4-696163FAE54F}" dt="2025-04-07T06:59:27.239" v="18170"/>
          <ac:spMkLst>
            <pc:docMk/>
            <pc:sldMk cId="229985416" sldId="4186"/>
            <ac:spMk id="120" creationId="{D0BB07F9-DF9F-AEDE-045B-325150ED51EA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6:59:59.070" v="19465"/>
          <ac:spMkLst>
            <pc:docMk/>
            <pc:sldMk cId="229985416" sldId="4186"/>
            <ac:spMk id="121" creationId="{5F78EFCD-DACD-EAA8-F533-B8650730723E}"/>
          </ac:spMkLst>
        </pc:spChg>
        <pc:spChg chg="add mod ord">
          <ac:chgData name="Ryterski Finn (HNE US-MI-PB-BO)" userId="efff052d-68b9-4e8d-b65b-45dff653056d" providerId="ADAL" clId="{870BDC5B-2E94-425D-B3D4-696163FAE54F}" dt="2025-04-09T07:31:33.955" v="46264" actId="948"/>
          <ac:spMkLst>
            <pc:docMk/>
            <pc:sldMk cId="229985416" sldId="4186"/>
            <ac:spMk id="121" creationId="{E07D62D3-1AA9-5416-9817-B86ECC6C4890}"/>
          </ac:spMkLst>
        </pc:spChg>
        <pc:spChg chg="add mod">
          <ac:chgData name="Ryterski Finn (HNE US-MI-PB-BO)" userId="efff052d-68b9-4e8d-b65b-45dff653056d" providerId="ADAL" clId="{870BDC5B-2E94-425D-B3D4-696163FAE54F}" dt="2025-04-07T06:59:59.070" v="19465"/>
          <ac:spMkLst>
            <pc:docMk/>
            <pc:sldMk cId="229985416" sldId="4186"/>
            <ac:spMk id="122" creationId="{798C075E-0DDB-B7E7-493A-9DE3584E9CF7}"/>
          </ac:spMkLst>
        </pc:spChg>
        <pc:spChg chg="add del mod modVis">
          <ac:chgData name="Ryterski Finn (HNE US-MI-PB-BO)" userId="efff052d-68b9-4e8d-b65b-45dff653056d" providerId="ADAL" clId="{870BDC5B-2E94-425D-B3D4-696163FAE54F}" dt="2025-04-08T14:54:17.968" v="39678"/>
          <ac:spMkLst>
            <pc:docMk/>
            <pc:sldMk cId="229985416" sldId="4186"/>
            <ac:spMk id="122" creationId="{955A4989-B780-121D-766B-DD38627DFB19}"/>
          </ac:spMkLst>
        </pc:spChg>
        <pc:spChg chg="add mod">
          <ac:chgData name="Ryterski Finn (HNE US-MI-PB-BO)" userId="efff052d-68b9-4e8d-b65b-45dff653056d" providerId="ADAL" clId="{870BDC5B-2E94-425D-B3D4-696163FAE54F}" dt="2025-04-07T06:59:59.070" v="19465"/>
          <ac:spMkLst>
            <pc:docMk/>
            <pc:sldMk cId="229985416" sldId="4186"/>
            <ac:spMk id="123" creationId="{3079F47B-97F0-225E-CFCE-5F3DF7618B90}"/>
          </ac:spMkLst>
        </pc:spChg>
        <pc:spChg chg="add del mod modVis">
          <ac:chgData name="Ryterski Finn (HNE US-MI-PB-BO)" userId="efff052d-68b9-4e8d-b65b-45dff653056d" providerId="ADAL" clId="{870BDC5B-2E94-425D-B3D4-696163FAE54F}" dt="2025-04-08T14:54:20.150" v="39945"/>
          <ac:spMkLst>
            <pc:docMk/>
            <pc:sldMk cId="229985416" sldId="4186"/>
            <ac:spMk id="123" creationId="{DB2D4E28-B627-0105-A675-FCE2F3745FAB}"/>
          </ac:spMkLst>
        </pc:spChg>
        <pc:spChg chg="add mod ord">
          <ac:chgData name="Ryterski Finn (HNE US-MI-PB-BO)" userId="efff052d-68b9-4e8d-b65b-45dff653056d" providerId="ADAL" clId="{870BDC5B-2E94-425D-B3D4-696163FAE54F}" dt="2025-04-07T06:59:59.070" v="19465"/>
          <ac:spMkLst>
            <pc:docMk/>
            <pc:sldMk cId="229985416" sldId="4186"/>
            <ac:spMk id="124" creationId="{0527282C-0EE8-AFA4-A7EA-A231B762D490}"/>
          </ac:spMkLst>
        </pc:spChg>
        <pc:spChg chg="add del mod modVis">
          <ac:chgData name="Ryterski Finn (HNE US-MI-PB-BO)" userId="efff052d-68b9-4e8d-b65b-45dff653056d" providerId="ADAL" clId="{870BDC5B-2E94-425D-B3D4-696163FAE54F}" dt="2025-04-08T14:54:23.516" v="40170"/>
          <ac:spMkLst>
            <pc:docMk/>
            <pc:sldMk cId="229985416" sldId="4186"/>
            <ac:spMk id="124" creationId="{6F0A25FB-92E7-8BB4-E830-C5F5E80519CF}"/>
          </ac:spMkLst>
        </pc:spChg>
        <pc:spChg chg="add del mod modVis">
          <ac:chgData name="Ryterski Finn (HNE US-MI-PB-BO)" userId="efff052d-68b9-4e8d-b65b-45dff653056d" providerId="ADAL" clId="{870BDC5B-2E94-425D-B3D4-696163FAE54F}" dt="2025-04-08T14:54:24.416" v="40386"/>
          <ac:spMkLst>
            <pc:docMk/>
            <pc:sldMk cId="229985416" sldId="4186"/>
            <ac:spMk id="125" creationId="{27BBA744-0D86-5E2A-599A-BB1EC48D3296}"/>
          </ac:spMkLst>
        </pc:spChg>
        <pc:spChg chg="add mod ord">
          <ac:chgData name="Ryterski Finn (HNE US-MI-PB-BO)" userId="efff052d-68b9-4e8d-b65b-45dff653056d" providerId="ADAL" clId="{870BDC5B-2E94-425D-B3D4-696163FAE54F}" dt="2025-04-07T06:59:59.070" v="19465"/>
          <ac:spMkLst>
            <pc:docMk/>
            <pc:sldMk cId="229985416" sldId="4186"/>
            <ac:spMk id="125" creationId="{2B038A56-245B-AF7D-41C8-0CAC76108A0B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7:00:15.546" v="20760"/>
          <ac:spMkLst>
            <pc:docMk/>
            <pc:sldMk cId="229985416" sldId="4186"/>
            <ac:spMk id="126" creationId="{66E6FD30-DCE3-C368-F0F9-54066B8FE2AB}"/>
          </ac:spMkLst>
        </pc:spChg>
        <pc:spChg chg="add del mod modVis">
          <ac:chgData name="Ryterski Finn (HNE US-MI-PB-BO)" userId="efff052d-68b9-4e8d-b65b-45dff653056d" providerId="ADAL" clId="{870BDC5B-2E94-425D-B3D4-696163FAE54F}" dt="2025-04-08T14:54:28.981" v="40604"/>
          <ac:spMkLst>
            <pc:docMk/>
            <pc:sldMk cId="229985416" sldId="4186"/>
            <ac:spMk id="126" creationId="{846F9BE6-BB0B-38D7-DA93-8EA1F7E108DD}"/>
          </ac:spMkLst>
        </pc:spChg>
        <pc:spChg chg="add mod">
          <ac:chgData name="Ryterski Finn (HNE US-MI-PB-BO)" userId="efff052d-68b9-4e8d-b65b-45dff653056d" providerId="ADAL" clId="{870BDC5B-2E94-425D-B3D4-696163FAE54F}" dt="2025-04-07T07:00:15.546" v="20760"/>
          <ac:spMkLst>
            <pc:docMk/>
            <pc:sldMk cId="229985416" sldId="4186"/>
            <ac:spMk id="127" creationId="{327D09DE-2E4E-2626-B0E1-7718FE50921C}"/>
          </ac:spMkLst>
        </pc:spChg>
        <pc:spChg chg="add del mod modVis">
          <ac:chgData name="Ryterski Finn (HNE US-MI-PB-BO)" userId="efff052d-68b9-4e8d-b65b-45dff653056d" providerId="ADAL" clId="{870BDC5B-2E94-425D-B3D4-696163FAE54F}" dt="2025-04-08T14:54:29.970" v="40680"/>
          <ac:spMkLst>
            <pc:docMk/>
            <pc:sldMk cId="229985416" sldId="4186"/>
            <ac:spMk id="127" creationId="{E069B562-2F3C-B335-B4C3-AFE6F4002AF4}"/>
          </ac:spMkLst>
        </pc:spChg>
        <pc:spChg chg="add del mod modVis">
          <ac:chgData name="Ryterski Finn (HNE US-MI-PB-BO)" userId="efff052d-68b9-4e8d-b65b-45dff653056d" providerId="ADAL" clId="{870BDC5B-2E94-425D-B3D4-696163FAE54F}" dt="2025-04-08T14:54:32.774" v="40931"/>
          <ac:spMkLst>
            <pc:docMk/>
            <pc:sldMk cId="229985416" sldId="4186"/>
            <ac:spMk id="128" creationId="{1395E702-61AB-0879-CB65-5F62EE69E022}"/>
          </ac:spMkLst>
        </pc:spChg>
        <pc:spChg chg="add mod">
          <ac:chgData name="Ryterski Finn (HNE US-MI-PB-BO)" userId="efff052d-68b9-4e8d-b65b-45dff653056d" providerId="ADAL" clId="{870BDC5B-2E94-425D-B3D4-696163FAE54F}" dt="2025-04-07T07:00:15.546" v="20760"/>
          <ac:spMkLst>
            <pc:docMk/>
            <pc:sldMk cId="229985416" sldId="4186"/>
            <ac:spMk id="128" creationId="{6B608930-52CD-96AC-B816-E8CB7F54F428}"/>
          </ac:spMkLst>
        </pc:spChg>
        <pc:spChg chg="add mod ord">
          <ac:chgData name="Ryterski Finn (HNE US-MI-PB-BO)" userId="efff052d-68b9-4e8d-b65b-45dff653056d" providerId="ADAL" clId="{870BDC5B-2E94-425D-B3D4-696163FAE54F}" dt="2025-04-07T07:00:15.546" v="20760"/>
          <ac:spMkLst>
            <pc:docMk/>
            <pc:sldMk cId="229985416" sldId="4186"/>
            <ac:spMk id="129" creationId="{81ABB1B3-AF59-1566-3C91-F6A5BD9175F0}"/>
          </ac:spMkLst>
        </pc:spChg>
        <pc:spChg chg="add del mod modVis">
          <ac:chgData name="Ryterski Finn (HNE US-MI-PB-BO)" userId="efff052d-68b9-4e8d-b65b-45dff653056d" providerId="ADAL" clId="{870BDC5B-2E94-425D-B3D4-696163FAE54F}" dt="2025-04-08T14:55:23.486" v="41173"/>
          <ac:spMkLst>
            <pc:docMk/>
            <pc:sldMk cId="229985416" sldId="4186"/>
            <ac:spMk id="129" creationId="{C5477CF1-A51A-466B-C6AA-FAA7704CF377}"/>
          </ac:spMkLst>
        </pc:spChg>
        <pc:spChg chg="add del mod modVis">
          <ac:chgData name="Ryterski Finn (HNE US-MI-PB-BO)" userId="efff052d-68b9-4e8d-b65b-45dff653056d" providerId="ADAL" clId="{870BDC5B-2E94-425D-B3D4-696163FAE54F}" dt="2025-04-09T06:46:14.355" v="41817"/>
          <ac:spMkLst>
            <pc:docMk/>
            <pc:sldMk cId="229985416" sldId="4186"/>
            <ac:spMk id="130" creationId="{7D10B2C9-1428-1106-DBA4-08EB8CD943CE}"/>
          </ac:spMkLst>
        </pc:spChg>
        <pc:spChg chg="add mod ord">
          <ac:chgData name="Ryterski Finn (HNE US-MI-PB-BO)" userId="efff052d-68b9-4e8d-b65b-45dff653056d" providerId="ADAL" clId="{870BDC5B-2E94-425D-B3D4-696163FAE54F}" dt="2025-04-07T07:00:15.546" v="20760"/>
          <ac:spMkLst>
            <pc:docMk/>
            <pc:sldMk cId="229985416" sldId="4186"/>
            <ac:spMk id="130" creationId="{8BF203AE-73F4-F5ED-DB41-F5CDD106616F}"/>
          </ac:spMkLst>
        </pc:spChg>
        <pc:spChg chg="mod ord">
          <ac:chgData name="Ryterski Finn (HNE US-MI-PB-BO)" userId="efff052d-68b9-4e8d-b65b-45dff653056d" providerId="ADAL" clId="{870BDC5B-2E94-425D-B3D4-696163FAE54F}" dt="2025-04-09T07:31:21.839" v="45483"/>
          <ac:spMkLst>
            <pc:docMk/>
            <pc:sldMk cId="229985416" sldId="4186"/>
            <ac:spMk id="131" creationId="{52495B08-4DB5-EA59-F8C4-801542224C8F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32" creationId="{ED24664C-07BF-F4A8-227F-9EDA7AB14DAB}"/>
          </ac:spMkLst>
        </pc:spChg>
        <pc:spChg chg="add del mod modVis">
          <ac:chgData name="Ryterski Finn (HNE US-MI-PB-BO)" userId="efff052d-68b9-4e8d-b65b-45dff653056d" providerId="ADAL" clId="{870BDC5B-2E94-425D-B3D4-696163FAE54F}" dt="2025-04-09T06:46:16.556" v="41918"/>
          <ac:spMkLst>
            <pc:docMk/>
            <pc:sldMk cId="229985416" sldId="4186"/>
            <ac:spMk id="133" creationId="{2E24F192-1263-17A8-7936-CC0E2B631B42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7:00:21.973" v="21061"/>
          <ac:spMkLst>
            <pc:docMk/>
            <pc:sldMk cId="229985416" sldId="4186"/>
            <ac:spMk id="133" creationId="{352E929E-995A-E9DD-8DF2-EE9A609A79AE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34" creationId="{1A5E46B4-DEF9-69BA-E83A-9684E6AA9B63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36" creationId="{E7D37A81-0F65-9FE4-1FCD-B2A9341B02B1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38" creationId="{7EC0E864-EBD3-B6BD-E4BC-0C9569C9CE5C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39" creationId="{40F349B2-1AB5-38D2-CCD9-2AB2A2FDDA7E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40" creationId="{A3C971DF-C5A2-B5FF-9BE6-A458583C9423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41" creationId="{5DD2B741-CF91-8FF7-68AA-4F0E1C89E1E4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42" creationId="{DF3F263C-ECD7-B96F-3E60-7CD03A494900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43" creationId="{3E716E92-EC2A-A140-25AA-5B4E91DDC5D0}"/>
          </ac:spMkLst>
        </pc:spChg>
        <pc:spChg chg="add mod ord">
          <ac:chgData name="Ryterski Finn (HNE US-MI-PB-BO)" userId="efff052d-68b9-4e8d-b65b-45dff653056d" providerId="ADAL" clId="{870BDC5B-2E94-425D-B3D4-696163FAE54F}" dt="2025-04-09T07:31:21.839" v="45483"/>
          <ac:spMkLst>
            <pc:docMk/>
            <pc:sldMk cId="229985416" sldId="4186"/>
            <ac:spMk id="145" creationId="{418371D5-79CD-1CBD-2B4E-A9F7260FB2B4}"/>
          </ac:spMkLst>
        </pc:spChg>
        <pc:spChg chg="add del mod">
          <ac:chgData name="Ryterski Finn (HNE US-MI-PB-BO)" userId="efff052d-68b9-4e8d-b65b-45dff653056d" providerId="ADAL" clId="{870BDC5B-2E94-425D-B3D4-696163FAE54F}" dt="2025-04-07T07:24:14.167" v="21666" actId="478"/>
          <ac:spMkLst>
            <pc:docMk/>
            <pc:sldMk cId="229985416" sldId="4186"/>
            <ac:spMk id="145" creationId="{B34992B8-9246-304A-AA09-753EC745039F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46" creationId="{4139FD02-69C6-DA2D-E41D-3E4D798C7DD5}"/>
          </ac:spMkLst>
        </pc:spChg>
        <pc:spChg chg="add del mod modVis">
          <ac:chgData name="Ryterski Finn (HNE US-MI-PB-BO)" userId="efff052d-68b9-4e8d-b65b-45dff653056d" providerId="ADAL" clId="{870BDC5B-2E94-425D-B3D4-696163FAE54F}" dt="2025-04-09T07:31:21.839" v="45483"/>
          <ac:spMkLst>
            <pc:docMk/>
            <pc:sldMk cId="229985416" sldId="4186"/>
            <ac:spMk id="148" creationId="{DE47B844-11C8-D111-F321-2E3740CA9608}"/>
          </ac:spMkLst>
        </pc:spChg>
        <pc:spChg chg="add del mod ord">
          <ac:chgData name="Ryterski Finn (HNE US-MI-PB-BO)" userId="efff052d-68b9-4e8d-b65b-45dff653056d" providerId="ADAL" clId="{870BDC5B-2E94-425D-B3D4-696163FAE54F}" dt="2025-04-07T08:55:13.306" v="31708" actId="478"/>
          <ac:spMkLst>
            <pc:docMk/>
            <pc:sldMk cId="229985416" sldId="4186"/>
            <ac:spMk id="148" creationId="{F4296D27-C938-90B1-6511-107BB46F4836}"/>
          </ac:spMkLst>
        </pc:spChg>
        <pc:spChg chg="add mod ord">
          <ac:chgData name="Ryterski Finn (HNE US-MI-PB-BO)" userId="efff052d-68b9-4e8d-b65b-45dff653056d" providerId="ADAL" clId="{870BDC5B-2E94-425D-B3D4-696163FAE54F}" dt="2025-04-09T07:31:33.955" v="46265" actId="948"/>
          <ac:spMkLst>
            <pc:docMk/>
            <pc:sldMk cId="229985416" sldId="4186"/>
            <ac:spMk id="149" creationId="{35403055-32A1-53E4-6375-2F7FFDC2EF41}"/>
          </ac:spMkLst>
        </pc:spChg>
        <pc:spChg chg="add mod ord">
          <ac:chgData name="Ryterski Finn (HNE US-MI-PB-BO)" userId="efff052d-68b9-4e8d-b65b-45dff653056d" providerId="ADAL" clId="{870BDC5B-2E94-425D-B3D4-696163FAE54F}" dt="2025-04-09T07:31:21.839" v="45483"/>
          <ac:spMkLst>
            <pc:docMk/>
            <pc:sldMk cId="229985416" sldId="4186"/>
            <ac:spMk id="150" creationId="{36CF61FC-83A4-8193-DE41-1817D81D0845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8:38:30.331" v="26123"/>
          <ac:spMkLst>
            <pc:docMk/>
            <pc:sldMk cId="229985416" sldId="4186"/>
            <ac:spMk id="150" creationId="{E56365B5-42F0-EC91-4684-B9ACAB311017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8:38:56.649" v="27001"/>
          <ac:spMkLst>
            <pc:docMk/>
            <pc:sldMk cId="229985416" sldId="4186"/>
            <ac:spMk id="151" creationId="{2729F8AE-83F0-46E2-AFBF-61C6805902BE}"/>
          </ac:spMkLst>
        </pc:spChg>
        <pc:spChg chg="add mod">
          <ac:chgData name="Ryterski Finn (HNE US-MI-PB-BO)" userId="efff052d-68b9-4e8d-b65b-45dff653056d" providerId="ADAL" clId="{870BDC5B-2E94-425D-B3D4-696163FAE54F}" dt="2025-04-09T07:31:21.839" v="45483"/>
          <ac:spMkLst>
            <pc:docMk/>
            <pc:sldMk cId="229985416" sldId="4186"/>
            <ac:spMk id="151" creationId="{CDAE7AD5-DDB1-C658-1328-C423AC28A42A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8:39:03.446" v="27234"/>
          <ac:spMkLst>
            <pc:docMk/>
            <pc:sldMk cId="229985416" sldId="4186"/>
            <ac:spMk id="152" creationId="{8A40204A-8480-E3B1-911F-C2D878ADE9A3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8:39:04.265" v="27445"/>
          <ac:spMkLst>
            <pc:docMk/>
            <pc:sldMk cId="229985416" sldId="4186"/>
            <ac:spMk id="153" creationId="{26B7B845-FB12-85C9-57D6-3BFF4457364D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54" creationId="{485125E5-2DA5-4D3C-C022-4B2B2721FDF4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55" creationId="{38983F48-84EE-D5CA-6DE4-5FB34F2ED242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56" creationId="{74288B9D-82B8-B85E-DAA5-12E57CD6C7E7}"/>
          </ac:spMkLst>
        </pc:spChg>
        <pc:spChg chg="add del mod ord">
          <ac:chgData name="Ryterski Finn (HNE US-MI-PB-BO)" userId="efff052d-68b9-4e8d-b65b-45dff653056d" providerId="ADAL" clId="{870BDC5B-2E94-425D-B3D4-696163FAE54F}" dt="2025-04-09T07:31:33.956" v="46266" actId="948"/>
          <ac:spMkLst>
            <pc:docMk/>
            <pc:sldMk cId="229985416" sldId="4186"/>
            <ac:spMk id="157" creationId="{067F3E32-A1E0-AA9A-3C67-F344DB98EB9D}"/>
          </ac:spMkLst>
        </pc:spChg>
        <pc:spChg chg="add mod">
          <ac:chgData name="Ryterski Finn (HNE US-MI-PB-BO)" userId="efff052d-68b9-4e8d-b65b-45dff653056d" providerId="ADAL" clId="{870BDC5B-2E94-425D-B3D4-696163FAE54F}" dt="2025-04-07T08:40:38.479" v="28561"/>
          <ac:spMkLst>
            <pc:docMk/>
            <pc:sldMk cId="229985416" sldId="4186"/>
            <ac:spMk id="158" creationId="{AE374B8A-01DA-0D95-A968-250A2469615E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8:40:38.479" v="28561"/>
          <ac:spMkLst>
            <pc:docMk/>
            <pc:sldMk cId="229985416" sldId="4186"/>
            <ac:spMk id="159" creationId="{569C65FF-AF9E-4614-9764-268B7BFB479B}"/>
          </ac:spMkLst>
        </pc:spChg>
        <pc:spChg chg="add mod">
          <ac:chgData name="Ryterski Finn (HNE US-MI-PB-BO)" userId="efff052d-68b9-4e8d-b65b-45dff653056d" providerId="ADAL" clId="{870BDC5B-2E94-425D-B3D4-696163FAE54F}" dt="2025-04-07T08:40:38.479" v="28561"/>
          <ac:spMkLst>
            <pc:docMk/>
            <pc:sldMk cId="229985416" sldId="4186"/>
            <ac:spMk id="160" creationId="{091B5EAD-6AB3-5F60-5A1C-3EB5B5731C1D}"/>
          </ac:spMkLst>
        </pc:spChg>
        <pc:spChg chg="add mod ord">
          <ac:chgData name="Ryterski Finn (HNE US-MI-PB-BO)" userId="efff052d-68b9-4e8d-b65b-45dff653056d" providerId="ADAL" clId="{870BDC5B-2E94-425D-B3D4-696163FAE54F}" dt="2025-04-07T08:40:38.479" v="28561"/>
          <ac:spMkLst>
            <pc:docMk/>
            <pc:sldMk cId="229985416" sldId="4186"/>
            <ac:spMk id="161" creationId="{E75F3F40-1702-22CF-5131-C502C05F2550}"/>
          </ac:spMkLst>
        </pc:spChg>
        <pc:spChg chg="add mod ord">
          <ac:chgData name="Ryterski Finn (HNE US-MI-PB-BO)" userId="efff052d-68b9-4e8d-b65b-45dff653056d" providerId="ADAL" clId="{870BDC5B-2E94-425D-B3D4-696163FAE54F}" dt="2025-04-07T08:40:38.479" v="28561"/>
          <ac:spMkLst>
            <pc:docMk/>
            <pc:sldMk cId="229985416" sldId="4186"/>
            <ac:spMk id="162" creationId="{3E5342D9-FC70-1486-ECF8-1774793AB492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8:43:48.554" v="29956"/>
          <ac:spMkLst>
            <pc:docMk/>
            <pc:sldMk cId="229985416" sldId="4186"/>
            <ac:spMk id="163" creationId="{011A26F4-25B9-3C46-640F-77EB80B47D6D}"/>
          </ac:spMkLst>
        </pc:spChg>
        <pc:spChg chg="add mod">
          <ac:chgData name="Ryterski Finn (HNE US-MI-PB-BO)" userId="efff052d-68b9-4e8d-b65b-45dff653056d" providerId="ADAL" clId="{870BDC5B-2E94-425D-B3D4-696163FAE54F}" dt="2025-04-07T08:43:48.554" v="29956"/>
          <ac:spMkLst>
            <pc:docMk/>
            <pc:sldMk cId="229985416" sldId="4186"/>
            <ac:spMk id="164" creationId="{5A90DE7F-AE38-A2D2-DCC8-571A24498F8F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8:44:00.383" v="30387"/>
          <ac:spMkLst>
            <pc:docMk/>
            <pc:sldMk cId="229985416" sldId="4186"/>
            <ac:spMk id="165" creationId="{1191891B-3359-1718-ABF5-A03165B96885}"/>
          </ac:spMkLst>
        </pc:spChg>
        <pc:spChg chg="mod ord">
          <ac:chgData name="Ryterski Finn (HNE US-MI-PB-BO)" userId="efff052d-68b9-4e8d-b65b-45dff653056d" providerId="ADAL" clId="{870BDC5B-2E94-425D-B3D4-696163FAE54F}" dt="2025-04-09T07:31:21.839" v="45483"/>
          <ac:spMkLst>
            <pc:docMk/>
            <pc:sldMk cId="229985416" sldId="4186"/>
            <ac:spMk id="166" creationId="{99D7898F-BC14-76A4-D2B7-AB4D59A7EC9A}"/>
          </ac:spMkLst>
        </pc:spChg>
        <pc:spChg chg="add mod ord">
          <ac:chgData name="Ryterski Finn (HNE US-MI-PB-BO)" userId="efff052d-68b9-4e8d-b65b-45dff653056d" providerId="ADAL" clId="{870BDC5B-2E94-425D-B3D4-696163FAE54F}" dt="2025-04-09T07:31:33.102" v="46260"/>
          <ac:spMkLst>
            <pc:docMk/>
            <pc:sldMk cId="229985416" sldId="4186"/>
            <ac:spMk id="167" creationId="{B417A9CE-5E21-5978-0F58-B68D2DFFCA1B}"/>
          </ac:spMkLst>
        </pc:spChg>
        <pc:spChg chg="add mod ord">
          <ac:chgData name="Ryterski Finn (HNE US-MI-PB-BO)" userId="efff052d-68b9-4e8d-b65b-45dff653056d" providerId="ADAL" clId="{870BDC5B-2E94-425D-B3D4-696163FAE54F}" dt="2025-04-09T07:31:21.839" v="45483"/>
          <ac:spMkLst>
            <pc:docMk/>
            <pc:sldMk cId="229985416" sldId="4186"/>
            <ac:spMk id="169" creationId="{EBB95795-F66D-1131-2D68-00007B5067FC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9:48:16.922" v="34251"/>
          <ac:spMkLst>
            <pc:docMk/>
            <pc:sldMk cId="229985416" sldId="4186"/>
            <ac:spMk id="170" creationId="{B7F41DCD-C38C-1C56-28E6-40A739C41A1A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9:48:17.855" v="34321"/>
          <ac:spMkLst>
            <pc:docMk/>
            <pc:sldMk cId="229985416" sldId="4186"/>
            <ac:spMk id="171" creationId="{BC467F42-AF1A-744F-3D04-199519CDEFC6}"/>
          </ac:spMkLst>
        </pc:spChg>
        <pc:spChg chg="mod ord">
          <ac:chgData name="Ryterski Finn (HNE US-MI-PB-BO)" userId="efff052d-68b9-4e8d-b65b-45dff653056d" providerId="ADAL" clId="{870BDC5B-2E94-425D-B3D4-696163FAE54F}" dt="2025-04-09T07:31:21.839" v="45483"/>
          <ac:spMkLst>
            <pc:docMk/>
            <pc:sldMk cId="229985416" sldId="4186"/>
            <ac:spMk id="172" creationId="{436F3C47-FE35-F949-EBB2-E8B816656BDC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9:48:19.264" v="34390"/>
          <ac:spMkLst>
            <pc:docMk/>
            <pc:sldMk cId="229985416" sldId="4186"/>
            <ac:spMk id="173" creationId="{BFC0C4EA-D3FF-B389-B336-AF7FA0E5965D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9:48:22.955" v="34466"/>
          <ac:spMkLst>
            <pc:docMk/>
            <pc:sldMk cId="229985416" sldId="4186"/>
            <ac:spMk id="174" creationId="{A2B33016-EAB5-B582-FB42-0211422B7DA5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9:48:24.291" v="34539"/>
          <ac:spMkLst>
            <pc:docMk/>
            <pc:sldMk cId="229985416" sldId="4186"/>
            <ac:spMk id="175" creationId="{69448831-76B5-4126-C0B0-466DABD4DE24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9:48:32.447" v="34620"/>
          <ac:spMkLst>
            <pc:docMk/>
            <pc:sldMk cId="229985416" sldId="4186"/>
            <ac:spMk id="176" creationId="{A8321634-DE5A-9C55-B54F-962279A39A8A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9:48:35.251" v="34827"/>
          <ac:spMkLst>
            <pc:docMk/>
            <pc:sldMk cId="229985416" sldId="4186"/>
            <ac:spMk id="177" creationId="{FC0C11DD-14EB-EFB6-183F-7604196F7443}"/>
          </ac:spMkLst>
        </pc:spChg>
        <pc:graphicFrameChg chg="mod">
          <ac:chgData name="Ryterski Finn (HNE US-MI-PB-BO)" userId="efff052d-68b9-4e8d-b65b-45dff653056d" providerId="ADAL" clId="{870BDC5B-2E94-425D-B3D4-696163FAE54F}" dt="2025-04-09T07:31:33.954" v="46263" actId="1076"/>
          <ac:graphicFrameMkLst>
            <pc:docMk/>
            <pc:sldMk cId="229985416" sldId="4186"/>
            <ac:graphicFrameMk id="84" creationId="{00000000-0000-0000-0000-000000000000}"/>
          </ac:graphicFrameMkLst>
        </pc:graphicFrame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24" creationId="{A5E90CD5-0F17-5DAA-1837-A1CBC835BB9E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25" creationId="{BB498ED4-7AE6-3645-1793-6823AB6B62FA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26" creationId="{279CD821-1BBD-A52D-9829-AE96E79A0F22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28" creationId="{7F4DC536-1401-9416-4B68-CD04F06F3723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35" creationId="{5F1A7503-E31C-B7CA-CD12-412D7F00AC5C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36" creationId="{49B6616F-040D-9BD3-0E01-0DF07A10F162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37" creationId="{22ED150E-CB1E-CCB8-2959-42DE24567607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40" creationId="{A0B6A1A6-F1E4-6C5E-8668-2797A1185F36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43" creationId="{9A38A4BE-49DB-3367-A408-98654A4D52A9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49" creationId="{CA7AD7CA-324D-005F-3207-9C792662500B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59" creationId="{6C4D86BE-4493-1D8D-F7B7-C0B30DDE3C3B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60" creationId="{4596A540-4BCF-AB19-18C0-F7F356B39296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61" creationId="{28503086-07E3-557E-6586-6C6F893D6958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62" creationId="{E53B5F0E-375C-84C2-AEA7-E9284B659A1F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63" creationId="{2DF4A48B-F3E2-5F5D-F773-FC75B76288FF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64" creationId="{D66290A2-D63D-CFAD-D73E-D02C9261F84D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65" creationId="{A7E28107-0DF7-4EB1-5104-37628A71150A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66" creationId="{D5F1BE5E-5D15-F0B6-C018-558CA21E5A3B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69" creationId="{4A66BEC0-0ADE-1AD9-417A-6B356C47B7C4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72" creationId="{253F31F9-73D5-1AB7-0E3C-6CEFAB017AD9}"/>
          </ac:cxnSpMkLst>
        </pc:cxnChg>
        <pc:cxnChg chg="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75" creationId="{3C1319D8-74EF-F3FD-F7B4-1E782CF84F7F}"/>
          </ac:cxnSpMkLst>
        </pc:cxnChg>
        <pc:cxnChg chg="mod ord">
          <ac:chgData name="Ryterski Finn (HNE US-MI-PB-BO)" userId="efff052d-68b9-4e8d-b65b-45dff653056d" providerId="ADAL" clId="{870BDC5B-2E94-425D-B3D4-696163FAE54F}" dt="2025-04-09T07:31:32.464" v="45999"/>
          <ac:cxnSpMkLst>
            <pc:docMk/>
            <pc:sldMk cId="229985416" sldId="4186"/>
            <ac:cxnSpMk id="76" creationId="{2F12BF95-F5C6-631E-6311-78566D368DFE}"/>
          </ac:cxnSpMkLst>
        </pc:cxnChg>
        <pc:cxnChg chg="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77" creationId="{99C91243-AC2B-A6B7-EA57-2F79A0811F4F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78" creationId="{C8B13AAB-F4A9-EAB7-02A2-4C90FED86A93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79" creationId="{DD8679F2-F80F-EB40-844B-F9CBEB3E757F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82" creationId="{E0385159-6658-1159-B4A4-E17E8EC1C643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83" creationId="{9F718DCC-7E44-9AA3-A703-0EA125CD89B9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86" creationId="{546B99AD-AC37-A6F9-75F8-B4E84211DDC6}"/>
          </ac:cxnSpMkLst>
        </pc:cxnChg>
        <pc:cxnChg chg="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87" creationId="{A126FA5E-33E7-2340-D7C2-4BB6CABDD4B1}"/>
          </ac:cxnSpMkLst>
        </pc:cxnChg>
        <pc:cxnChg chg="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88" creationId="{58A7A7B9-44F6-DCD0-EFC3-D1ED67C259DB}"/>
          </ac:cxnSpMkLst>
        </pc:cxnChg>
        <pc:cxnChg chg="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89" creationId="{5E7759EA-95CB-14D3-4352-84080E71AD2C}"/>
          </ac:cxnSpMkLst>
        </pc:cxnChg>
        <pc:cxnChg chg="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90" creationId="{C27A47CC-EBE3-9580-5AD6-65CBA124B526}"/>
          </ac:cxnSpMkLst>
        </pc:cxnChg>
        <pc:cxnChg chg="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91" creationId="{0A72903A-4D46-EAE7-A896-0E5AA9FBD463}"/>
          </ac:cxnSpMkLst>
        </pc:cxnChg>
        <pc:cxnChg chg="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92" creationId="{41BD009E-D144-30E5-13DE-B5EB9E312A9A}"/>
          </ac:cxnSpMkLst>
        </pc:cxnChg>
        <pc:cxnChg chg="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93" creationId="{BF5D1A6E-2E17-928F-DF5E-A14FA80F18A5}"/>
          </ac:cxnSpMkLst>
        </pc:cxnChg>
        <pc:cxnChg chg="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94" creationId="{EA4F88AD-862E-6545-F035-7CCB2F7E1C95}"/>
          </ac:cxnSpMkLst>
        </pc:cxnChg>
        <pc:cxnChg chg="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95" creationId="{1D79E207-D31A-7705-B0F8-AED1B288ED79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97" creationId="{07CF1F58-B599-9135-133E-A32B68EBE491}"/>
          </ac:cxnSpMkLst>
        </pc:cxnChg>
        <pc:cxnChg chg="add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99" creationId="{C79DAC9B-FE14-D926-2CB3-8B27C91E2BE3}"/>
          </ac:cxnSpMkLst>
        </pc:cxnChg>
        <pc:cxnChg chg="add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100" creationId="{E850F991-FD12-C130-D521-63A0A0EF1688}"/>
          </ac:cxnSpMkLst>
        </pc:cxnChg>
        <pc:cxnChg chg="add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105" creationId="{73CAA20F-7437-4181-E9AB-1F514C994233}"/>
          </ac:cxnSpMkLst>
        </pc:cxnChg>
        <pc:cxnChg chg="add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117" creationId="{082D85CD-87C6-B5C3-E413-E2E18D6034DD}"/>
          </ac:cxnSpMkLst>
        </pc:cxnChg>
        <pc:cxnChg chg="add del mod ord">
          <ac:chgData name="Ryterski Finn (HNE US-MI-PB-BO)" userId="efff052d-68b9-4e8d-b65b-45dff653056d" providerId="ADAL" clId="{870BDC5B-2E94-425D-B3D4-696163FAE54F}" dt="2025-04-08T14:50:03.427" v="37001"/>
          <ac:cxnSpMkLst>
            <pc:docMk/>
            <pc:sldMk cId="229985416" sldId="4186"/>
            <ac:cxnSpMk id="118" creationId="{8D9C4CA0-0C9E-9AB3-4DD2-A357BFB0FECA}"/>
          </ac:cxnSpMkLst>
        </pc:cxnChg>
        <pc:cxnChg chg="add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119" creationId="{71ECF1E7-898E-F13C-7D60-A9E719BBF467}"/>
          </ac:cxnSpMkLst>
        </pc:cxnChg>
        <pc:cxnChg chg="add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120" creationId="{9362329B-16E6-9CB4-E052-DDBC92FCBE97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135" creationId="{734F567F-E409-882B-CF8A-F4B4C727927C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137" creationId="{9CA16F51-BC14-FC61-B785-173CB7841A2F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144" creationId="{5E81A749-D16A-3FCB-B0C6-1EFEC6C518EA}"/>
          </ac:cxnSpMkLst>
        </pc:cxnChg>
        <pc:cxnChg chg="add del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147" creationId="{695CF844-EA35-00D8-E119-F9B1AD06F45C}"/>
          </ac:cxnSpMkLst>
        </pc:cxnChg>
        <pc:cxnChg chg="add mod ord">
          <ac:chgData name="Ryterski Finn (HNE US-MI-PB-BO)" userId="efff052d-68b9-4e8d-b65b-45dff653056d" providerId="ADAL" clId="{870BDC5B-2E94-425D-B3D4-696163FAE54F}" dt="2025-04-09T07:31:21.839" v="45483"/>
          <ac:cxnSpMkLst>
            <pc:docMk/>
            <pc:sldMk cId="229985416" sldId="4186"/>
            <ac:cxnSpMk id="152" creationId="{CC609251-FBE7-F6E0-F08C-1E8FC29ECCA9}"/>
          </ac:cxnSpMkLst>
        </pc:cxnChg>
        <pc:cxnChg chg="add mod ord">
          <ac:chgData name="Ryterski Finn (HNE US-MI-PB-BO)" userId="efff052d-68b9-4e8d-b65b-45dff653056d" providerId="ADAL" clId="{870BDC5B-2E94-425D-B3D4-696163FAE54F}" dt="2025-04-09T07:31:21.839" v="45483"/>
          <ac:cxnSpMkLst>
            <pc:docMk/>
            <pc:sldMk cId="229985416" sldId="4186"/>
            <ac:cxnSpMk id="153" creationId="{1F4C2EF0-07DD-B92C-38F9-B339287102B6}"/>
          </ac:cxnSpMkLst>
        </pc:cxnChg>
        <pc:cxnChg chg="add mod ord">
          <ac:chgData name="Ryterski Finn (HNE US-MI-PB-BO)" userId="efff052d-68b9-4e8d-b65b-45dff653056d" providerId="ADAL" clId="{870BDC5B-2E94-425D-B3D4-696163FAE54F}" dt="2025-04-09T07:31:33.102" v="46260"/>
          <ac:cxnSpMkLst>
            <pc:docMk/>
            <pc:sldMk cId="229985416" sldId="4186"/>
            <ac:cxnSpMk id="168" creationId="{21961B80-F95E-0A73-AF9A-09078877D53D}"/>
          </ac:cxnSpMkLst>
        </pc:cxnChg>
      </pc:sldChg>
      <pc:sldChg chg="addSp delSp modSp mod">
        <pc:chgData name="Ryterski Finn (HNE US-MI-PB-BO)" userId="efff052d-68b9-4e8d-b65b-45dff653056d" providerId="ADAL" clId="{870BDC5B-2E94-425D-B3D4-696163FAE54F}" dt="2025-04-09T07:35:48.731" v="46458" actId="20577"/>
        <pc:sldMkLst>
          <pc:docMk/>
          <pc:sldMk cId="1570315638" sldId="4187"/>
        </pc:sldMkLst>
        <pc:spChg chg="del mod ord">
          <ac:chgData name="Ryterski Finn (HNE US-MI-PB-BO)" userId="efff052d-68b9-4e8d-b65b-45dff653056d" providerId="ADAL" clId="{870BDC5B-2E94-425D-B3D4-696163FAE54F}" dt="2025-04-07T07:04:10.449" v="21076" actId="478"/>
          <ac:spMkLst>
            <pc:docMk/>
            <pc:sldMk cId="1570315638" sldId="4187"/>
            <ac:spMk id="2" creationId="{00000000-0000-0000-0000-000000000000}"/>
          </ac:spMkLst>
        </pc:spChg>
        <pc:spChg chg="mod ord">
          <ac:chgData name="Ryterski Finn (HNE US-MI-PB-BO)" userId="efff052d-68b9-4e8d-b65b-45dff653056d" providerId="ADAL" clId="{870BDC5B-2E94-425D-B3D4-696163FAE54F}" dt="2025-04-07T05:36:05.015" v="3817"/>
          <ac:spMkLst>
            <pc:docMk/>
            <pc:sldMk cId="1570315638" sldId="4187"/>
            <ac:spMk id="4" creationId="{EF665E10-7CE9-B100-7387-5EBF2427DCC3}"/>
          </ac:spMkLst>
        </pc:spChg>
        <pc:spChg chg="mod ord">
          <ac:chgData name="Ryterski Finn (HNE US-MI-PB-BO)" userId="efff052d-68b9-4e8d-b65b-45dff653056d" providerId="ADAL" clId="{870BDC5B-2E94-425D-B3D4-696163FAE54F}" dt="2025-04-07T05:36:05.006" v="3801"/>
          <ac:spMkLst>
            <pc:docMk/>
            <pc:sldMk cId="1570315638" sldId="4187"/>
            <ac:spMk id="5" creationId="{00000000-0000-0000-0000-000000000000}"/>
          </ac:spMkLst>
        </pc:spChg>
        <pc:spChg chg="mod ord">
          <ac:chgData name="Ryterski Finn (HNE US-MI-PB-BO)" userId="efff052d-68b9-4e8d-b65b-45dff653056d" providerId="ADAL" clId="{870BDC5B-2E94-425D-B3D4-696163FAE54F}" dt="2025-04-07T05:36:05.016" v="3819"/>
          <ac:spMkLst>
            <pc:docMk/>
            <pc:sldMk cId="1570315638" sldId="4187"/>
            <ac:spMk id="6" creationId="{55C851FC-CAFC-EA91-15F7-8F1211A5A132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7:45:02.125" v="2308"/>
          <ac:spMkLst>
            <pc:docMk/>
            <pc:sldMk cId="1570315638" sldId="4187"/>
            <ac:spMk id="11" creationId="{2B4CB80B-3C1B-B78B-F0C3-7C10E812BDA0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5:35:36.477" v="2776"/>
          <ac:spMkLst>
            <pc:docMk/>
            <pc:sldMk cId="1570315638" sldId="4187"/>
            <ac:spMk id="11" creationId="{51742C00-AC7D-EC7F-5665-50165DB818BA}"/>
          </ac:spMkLst>
        </pc:spChg>
        <pc:spChg chg="mod ord">
          <ac:chgData name="Ryterski Finn (HNE US-MI-PB-BO)" userId="efff052d-68b9-4e8d-b65b-45dff653056d" providerId="ADAL" clId="{870BDC5B-2E94-425D-B3D4-696163FAE54F}" dt="2025-04-09T07:35:48.731" v="46458" actId="20577"/>
          <ac:spMkLst>
            <pc:docMk/>
            <pc:sldMk cId="1570315638" sldId="4187"/>
            <ac:spMk id="19" creationId="{A561DC4E-CC07-ADEB-9613-17736097880A}"/>
          </ac:spMkLst>
        </pc:spChg>
        <pc:spChg chg="del mod">
          <ac:chgData name="Ryterski Finn (HNE US-MI-PB-BO)" userId="efff052d-68b9-4e8d-b65b-45dff653056d" providerId="ADAL" clId="{870BDC5B-2E94-425D-B3D4-696163FAE54F}" dt="2025-04-03T07:36:56.441" v="2261" actId="478"/>
          <ac:spMkLst>
            <pc:docMk/>
            <pc:sldMk cId="1570315638" sldId="4187"/>
            <ac:spMk id="20" creationId="{5D036B0B-3ABA-3580-EA4B-54F85DC9C8FC}"/>
          </ac:spMkLst>
        </pc:spChg>
        <pc:spChg chg="mod">
          <ac:chgData name="Ryterski Finn (HNE US-MI-PB-BO)" userId="efff052d-68b9-4e8d-b65b-45dff653056d" providerId="ADAL" clId="{870BDC5B-2E94-425D-B3D4-696163FAE54F}" dt="2025-04-09T06:45:23.414" v="41710" actId="113"/>
          <ac:spMkLst>
            <pc:docMk/>
            <pc:sldMk cId="1570315638" sldId="4187"/>
            <ac:spMk id="21" creationId="{286AFF0A-AE46-F0C7-B3E1-9B19106394FF}"/>
          </ac:spMkLst>
        </pc:spChg>
        <pc:spChg chg="mod ord">
          <ac:chgData name="Ryterski Finn (HNE US-MI-PB-BO)" userId="efff052d-68b9-4e8d-b65b-45dff653056d" providerId="ADAL" clId="{870BDC5B-2E94-425D-B3D4-696163FAE54F}" dt="2025-04-07T05:36:05.017" v="3821"/>
          <ac:spMkLst>
            <pc:docMk/>
            <pc:sldMk cId="1570315638" sldId="4187"/>
            <ac:spMk id="23" creationId="{2E67CFBE-F766-3276-07D3-C07B8A3B4038}"/>
          </ac:spMkLst>
        </pc:spChg>
        <pc:spChg chg="mod ord">
          <ac:chgData name="Ryterski Finn (HNE US-MI-PB-BO)" userId="efff052d-68b9-4e8d-b65b-45dff653056d" providerId="ADAL" clId="{870BDC5B-2E94-425D-B3D4-696163FAE54F}" dt="2025-04-07T05:36:05.018" v="3823"/>
          <ac:spMkLst>
            <pc:docMk/>
            <pc:sldMk cId="1570315638" sldId="4187"/>
            <ac:spMk id="25" creationId="{532509DE-4807-2D21-3789-93411B12D9AD}"/>
          </ac:spMkLst>
        </pc:spChg>
        <pc:spChg chg="mod ord">
          <ac:chgData name="Ryterski Finn (HNE US-MI-PB-BO)" userId="efff052d-68b9-4e8d-b65b-45dff653056d" providerId="ADAL" clId="{870BDC5B-2E94-425D-B3D4-696163FAE54F}" dt="2025-04-07T05:36:05.019" v="3825"/>
          <ac:spMkLst>
            <pc:docMk/>
            <pc:sldMk cId="1570315638" sldId="4187"/>
            <ac:spMk id="26" creationId="{7AF02433-C882-96CB-F87D-CC68E2771055}"/>
          </ac:spMkLst>
        </pc:spChg>
        <pc:spChg chg="mod ord">
          <ac:chgData name="Ryterski Finn (HNE US-MI-PB-BO)" userId="efff052d-68b9-4e8d-b65b-45dff653056d" providerId="ADAL" clId="{870BDC5B-2E94-425D-B3D4-696163FAE54F}" dt="2025-04-07T05:36:05.021" v="3827"/>
          <ac:spMkLst>
            <pc:docMk/>
            <pc:sldMk cId="1570315638" sldId="4187"/>
            <ac:spMk id="27" creationId="{2D7006F4-3A8B-DEFE-B6E2-11CCDA4B1194}"/>
          </ac:spMkLst>
        </pc:spChg>
        <pc:spChg chg="mod">
          <ac:chgData name="Ryterski Finn (HNE US-MI-PB-BO)" userId="efff052d-68b9-4e8d-b65b-45dff653056d" providerId="ADAL" clId="{870BDC5B-2E94-425D-B3D4-696163FAE54F}" dt="2025-04-03T07:47:16.627" v="2379" actId="20577"/>
          <ac:spMkLst>
            <pc:docMk/>
            <pc:sldMk cId="1570315638" sldId="4187"/>
            <ac:spMk id="29" creationId="{00000000-0000-0000-0000-000000000000}"/>
          </ac:spMkLst>
        </pc:spChg>
        <pc:spChg chg="mod ord">
          <ac:chgData name="Ryterski Finn (HNE US-MI-PB-BO)" userId="efff052d-68b9-4e8d-b65b-45dff653056d" providerId="ADAL" clId="{870BDC5B-2E94-425D-B3D4-696163FAE54F}" dt="2025-04-07T05:36:05.022" v="3829"/>
          <ac:spMkLst>
            <pc:docMk/>
            <pc:sldMk cId="1570315638" sldId="4187"/>
            <ac:spMk id="30" creationId="{0FA31162-E3F8-7482-C36D-0AF6F589A9EF}"/>
          </ac:spMkLst>
        </pc:spChg>
        <pc:spChg chg="mod ord">
          <ac:chgData name="Ryterski Finn (HNE US-MI-PB-BO)" userId="efff052d-68b9-4e8d-b65b-45dff653056d" providerId="ADAL" clId="{870BDC5B-2E94-425D-B3D4-696163FAE54F}" dt="2025-04-07T05:36:05.024" v="3831"/>
          <ac:spMkLst>
            <pc:docMk/>
            <pc:sldMk cId="1570315638" sldId="4187"/>
            <ac:spMk id="31" creationId="{A322460E-0372-E3CA-408F-F120B97C8D4F}"/>
          </ac:spMkLst>
        </pc:spChg>
        <pc:spChg chg="mod ord">
          <ac:chgData name="Ryterski Finn (HNE US-MI-PB-BO)" userId="efff052d-68b9-4e8d-b65b-45dff653056d" providerId="ADAL" clId="{870BDC5B-2E94-425D-B3D4-696163FAE54F}" dt="2025-04-07T05:36:05.025" v="3833"/>
          <ac:spMkLst>
            <pc:docMk/>
            <pc:sldMk cId="1570315638" sldId="4187"/>
            <ac:spMk id="32" creationId="{947C97F5-5844-5E1F-3B9A-A89E1B125079}"/>
          </ac:spMkLst>
        </pc:spChg>
        <pc:spChg chg="mod ord">
          <ac:chgData name="Ryterski Finn (HNE US-MI-PB-BO)" userId="efff052d-68b9-4e8d-b65b-45dff653056d" providerId="ADAL" clId="{870BDC5B-2E94-425D-B3D4-696163FAE54F}" dt="2025-04-07T05:36:05.027" v="3835"/>
          <ac:spMkLst>
            <pc:docMk/>
            <pc:sldMk cId="1570315638" sldId="4187"/>
            <ac:spMk id="33" creationId="{2BDD5EC0-CB7A-0A43-EB7F-7E2DCD77D441}"/>
          </ac:spMkLst>
        </pc:spChg>
        <pc:spChg chg="mod ord">
          <ac:chgData name="Ryterski Finn (HNE US-MI-PB-BO)" userId="efff052d-68b9-4e8d-b65b-45dff653056d" providerId="ADAL" clId="{870BDC5B-2E94-425D-B3D4-696163FAE54F}" dt="2025-04-07T05:36:05.029" v="3837"/>
          <ac:spMkLst>
            <pc:docMk/>
            <pc:sldMk cId="1570315638" sldId="4187"/>
            <ac:spMk id="36" creationId="{19C0A0D4-20CD-7D50-4CD3-2B6A26B69873}"/>
          </ac:spMkLst>
        </pc:spChg>
        <pc:spChg chg="mod ord">
          <ac:chgData name="Ryterski Finn (HNE US-MI-PB-BO)" userId="efff052d-68b9-4e8d-b65b-45dff653056d" providerId="ADAL" clId="{870BDC5B-2E94-425D-B3D4-696163FAE54F}" dt="2025-04-07T05:36:05.030" v="3839"/>
          <ac:spMkLst>
            <pc:docMk/>
            <pc:sldMk cId="1570315638" sldId="4187"/>
            <ac:spMk id="37" creationId="{F2BB4B93-3784-7AB6-E7C5-FD3DB4C158D6}"/>
          </ac:spMkLst>
        </pc:spChg>
        <pc:spChg chg="mod ord">
          <ac:chgData name="Ryterski Finn (HNE US-MI-PB-BO)" userId="efff052d-68b9-4e8d-b65b-45dff653056d" providerId="ADAL" clId="{870BDC5B-2E94-425D-B3D4-696163FAE54F}" dt="2025-04-07T05:36:05.032" v="3841"/>
          <ac:spMkLst>
            <pc:docMk/>
            <pc:sldMk cId="1570315638" sldId="4187"/>
            <ac:spMk id="39" creationId="{D8B5B42A-7888-5E25-4E4C-A6005AED28CF}"/>
          </ac:spMkLst>
        </pc:spChg>
        <pc:spChg chg="mod ord">
          <ac:chgData name="Ryterski Finn (HNE US-MI-PB-BO)" userId="efff052d-68b9-4e8d-b65b-45dff653056d" providerId="ADAL" clId="{870BDC5B-2E94-425D-B3D4-696163FAE54F}" dt="2025-04-07T05:36:05.048" v="3865"/>
          <ac:spMkLst>
            <pc:docMk/>
            <pc:sldMk cId="1570315638" sldId="4187"/>
            <ac:spMk id="42" creationId="{6EB19960-F258-02FB-9463-9379FF818511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5:35:52.344" v="3306" actId="962"/>
          <ac:spMkLst>
            <pc:docMk/>
            <pc:sldMk cId="1570315638" sldId="4187"/>
            <ac:spMk id="43" creationId="{BA08AD73-EF96-9B20-199D-9FC74D7CAC31}"/>
          </ac:spMkLst>
        </pc:spChg>
        <pc:spChg chg="mod">
          <ac:chgData name="Ryterski Finn (HNE US-MI-PB-BO)" userId="efff052d-68b9-4e8d-b65b-45dff653056d" providerId="ADAL" clId="{870BDC5B-2E94-425D-B3D4-696163FAE54F}" dt="2025-04-03T07:37:00.771" v="2269" actId="20577"/>
          <ac:spMkLst>
            <pc:docMk/>
            <pc:sldMk cId="1570315638" sldId="4187"/>
            <ac:spMk id="47" creationId="{00000000-0000-0000-0000-000000000000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5:35:52.303" v="3223" actId="962"/>
          <ac:spMkLst>
            <pc:docMk/>
            <pc:sldMk cId="1570315638" sldId="4187"/>
            <ac:spMk id="59" creationId="{12AB8B75-9DEC-BD51-B3F7-B5F26B3E2F07}"/>
          </ac:spMkLst>
        </pc:spChg>
        <pc:spChg chg="mod">
          <ac:chgData name="Ryterski Finn (HNE US-MI-PB-BO)" userId="efff052d-68b9-4e8d-b65b-45dff653056d" providerId="ADAL" clId="{870BDC5B-2E94-425D-B3D4-696163FAE54F}" dt="2025-04-03T07:36:36.112" v="2254" actId="207"/>
          <ac:spMkLst>
            <pc:docMk/>
            <pc:sldMk cId="1570315638" sldId="4187"/>
            <ac:spMk id="61" creationId="{0225198E-B816-422D-E89D-86384DAAE59C}"/>
          </ac:spMkLst>
        </pc:spChg>
        <pc:spChg chg="mod ord">
          <ac:chgData name="Ryterski Finn (HNE US-MI-PB-BO)" userId="efff052d-68b9-4e8d-b65b-45dff653056d" providerId="ADAL" clId="{870BDC5B-2E94-425D-B3D4-696163FAE54F}" dt="2025-04-09T07:35:05.186" v="46405" actId="1076"/>
          <ac:spMkLst>
            <pc:docMk/>
            <pc:sldMk cId="1570315638" sldId="4187"/>
            <ac:spMk id="63" creationId="{00000000-0000-0000-0000-000000000000}"/>
          </ac:spMkLst>
        </pc:spChg>
        <pc:spChg chg="mod ord">
          <ac:chgData name="Ryterski Finn (HNE US-MI-PB-BO)" userId="efff052d-68b9-4e8d-b65b-45dff653056d" providerId="ADAL" clId="{870BDC5B-2E94-425D-B3D4-696163FAE54F}" dt="2025-04-09T07:35:05.186" v="46405" actId="1076"/>
          <ac:spMkLst>
            <pc:docMk/>
            <pc:sldMk cId="1570315638" sldId="4187"/>
            <ac:spMk id="64" creationId="{00000000-0000-0000-0000-000000000000}"/>
          </ac:spMkLst>
        </pc:spChg>
        <pc:spChg chg="mod">
          <ac:chgData name="Ryterski Finn (HNE US-MI-PB-BO)" userId="efff052d-68b9-4e8d-b65b-45dff653056d" providerId="ADAL" clId="{870BDC5B-2E94-425D-B3D4-696163FAE54F}" dt="2025-04-03T07:36:40.514" v="2255" actId="207"/>
          <ac:spMkLst>
            <pc:docMk/>
            <pc:sldMk cId="1570315638" sldId="4187"/>
            <ac:spMk id="65" creationId="{2683C527-280A-7E80-AA2D-49D1B7F5CE60}"/>
          </ac:spMkLst>
        </pc:spChg>
        <pc:spChg chg="mod">
          <ac:chgData name="Ryterski Finn (HNE US-MI-PB-BO)" userId="efff052d-68b9-4e8d-b65b-45dff653056d" providerId="ADAL" clId="{870BDC5B-2E94-425D-B3D4-696163FAE54F}" dt="2025-04-03T07:36:12.548" v="2253" actId="207"/>
          <ac:spMkLst>
            <pc:docMk/>
            <pc:sldMk cId="1570315638" sldId="4187"/>
            <ac:spMk id="66" creationId="{EDD0F8C0-6D3F-D6CF-D64A-8166C0B64764}"/>
          </ac:spMkLst>
        </pc:spChg>
        <pc:spChg chg="mod ord">
          <ac:chgData name="Ryterski Finn (HNE US-MI-PB-BO)" userId="efff052d-68b9-4e8d-b65b-45dff653056d" providerId="ADAL" clId="{870BDC5B-2E94-425D-B3D4-696163FAE54F}" dt="2025-04-07T06:48:48.532" v="16779" actId="20577"/>
          <ac:spMkLst>
            <pc:docMk/>
            <pc:sldMk cId="1570315638" sldId="4187"/>
            <ac:spMk id="67" creationId="{993DB602-4F60-E835-94C6-7673B1F60C12}"/>
          </ac:spMkLst>
        </pc:spChg>
        <pc:spChg chg="mod ord">
          <ac:chgData name="Ryterski Finn (HNE US-MI-PB-BO)" userId="efff052d-68b9-4e8d-b65b-45dff653056d" providerId="ADAL" clId="{870BDC5B-2E94-425D-B3D4-696163FAE54F}" dt="2025-04-07T05:36:05.075" v="3894"/>
          <ac:spMkLst>
            <pc:docMk/>
            <pc:sldMk cId="1570315638" sldId="4187"/>
            <ac:spMk id="69" creationId="{A7A5E482-5E56-94D0-EC93-22667B21B299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5:35:55.152" v="3530"/>
          <ac:spMkLst>
            <pc:docMk/>
            <pc:sldMk cId="1570315638" sldId="4187"/>
            <ac:spMk id="79" creationId="{2CA33A59-306E-85A9-89B2-FFFBCB0FC9DB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5:35:55.972" v="3706"/>
          <ac:spMkLst>
            <pc:docMk/>
            <pc:sldMk cId="1570315638" sldId="4187"/>
            <ac:spMk id="83" creationId="{C382C75D-E8B4-0356-6DFA-F0CF83A11420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5:36:05.087" v="3914"/>
          <ac:spMkLst>
            <pc:docMk/>
            <pc:sldMk cId="1570315638" sldId="4187"/>
            <ac:spMk id="85" creationId="{4FA26399-13F4-D59C-E540-300AD8FEE05B}"/>
          </ac:spMkLst>
        </pc:spChg>
        <pc:spChg chg="add del mod">
          <ac:chgData name="Ryterski Finn (HNE US-MI-PB-BO)" userId="efff052d-68b9-4e8d-b65b-45dff653056d" providerId="ADAL" clId="{870BDC5B-2E94-425D-B3D4-696163FAE54F}" dt="2025-04-07T07:04:27.691" v="21078" actId="478"/>
          <ac:spMkLst>
            <pc:docMk/>
            <pc:sldMk cId="1570315638" sldId="4187"/>
            <ac:spMk id="87" creationId="{9ADB8203-15DD-2F82-9A4F-928231D9AB96}"/>
          </ac:spMkLst>
        </pc:spChg>
        <pc:spChg chg="add del mod">
          <ac:chgData name="Ryterski Finn (HNE US-MI-PB-BO)" userId="efff052d-68b9-4e8d-b65b-45dff653056d" providerId="ADAL" clId="{870BDC5B-2E94-425D-B3D4-696163FAE54F}" dt="2025-04-07T07:24:10.781" v="21664" actId="478"/>
          <ac:spMkLst>
            <pc:docMk/>
            <pc:sldMk cId="1570315638" sldId="4187"/>
            <ac:spMk id="88" creationId="{34D5827D-A35E-6EE4-8D63-666E651C83F4}"/>
          </ac:spMkLst>
        </pc:spChg>
        <pc:spChg chg="add mod">
          <ac:chgData name="Ryterski Finn (HNE US-MI-PB-BO)" userId="efff052d-68b9-4e8d-b65b-45dff653056d" providerId="ADAL" clId="{870BDC5B-2E94-425D-B3D4-696163FAE54F}" dt="2025-04-07T07:24:11.017" v="21665"/>
          <ac:spMkLst>
            <pc:docMk/>
            <pc:sldMk cId="1570315638" sldId="4187"/>
            <ac:spMk id="89" creationId="{6C10633D-3F44-AE45-C759-9125FC1A0C61}"/>
          </ac:spMkLst>
        </pc:spChg>
        <pc:spChg chg="add mod">
          <ac:chgData name="Ryterski Finn (HNE US-MI-PB-BO)" userId="efff052d-68b9-4e8d-b65b-45dff653056d" providerId="ADAL" clId="{870BDC5B-2E94-425D-B3D4-696163FAE54F}" dt="2025-04-09T07:31:40.802" v="46271" actId="404"/>
          <ac:spMkLst>
            <pc:docMk/>
            <pc:sldMk cId="1570315638" sldId="4187"/>
            <ac:spMk id="90" creationId="{228EAB9F-B410-537A-16D2-348CF84A21B7}"/>
          </ac:spMkLst>
        </pc:spChg>
        <pc:spChg chg="mod">
          <ac:chgData name="Ryterski Finn (HNE US-MI-PB-BO)" userId="efff052d-68b9-4e8d-b65b-45dff653056d" providerId="ADAL" clId="{870BDC5B-2E94-425D-B3D4-696163FAE54F}" dt="2025-04-07T05:36:05.050" v="3867"/>
          <ac:spMkLst>
            <pc:docMk/>
            <pc:sldMk cId="1570315638" sldId="4187"/>
            <ac:spMk id="258" creationId="{AA14B289-F1EF-6D28-A375-C10EF5E98205}"/>
          </ac:spMkLst>
        </pc:spChg>
        <pc:spChg chg="mod">
          <ac:chgData name="Ryterski Finn (HNE US-MI-PB-BO)" userId="efff052d-68b9-4e8d-b65b-45dff653056d" providerId="ADAL" clId="{870BDC5B-2E94-425D-B3D4-696163FAE54F}" dt="2025-04-07T05:36:05.051" v="3868"/>
          <ac:spMkLst>
            <pc:docMk/>
            <pc:sldMk cId="1570315638" sldId="4187"/>
            <ac:spMk id="259" creationId="{579F0B4D-ABE4-472F-B7B2-979509398580}"/>
          </ac:spMkLst>
        </pc:spChg>
        <pc:spChg chg="mod">
          <ac:chgData name="Ryterski Finn (HNE US-MI-PB-BO)" userId="efff052d-68b9-4e8d-b65b-45dff653056d" providerId="ADAL" clId="{870BDC5B-2E94-425D-B3D4-696163FAE54F}" dt="2025-04-07T05:36:05.052" v="3869"/>
          <ac:spMkLst>
            <pc:docMk/>
            <pc:sldMk cId="1570315638" sldId="4187"/>
            <ac:spMk id="260" creationId="{13A3659A-02E5-1A40-17E8-90ED897E35A5}"/>
          </ac:spMkLst>
        </pc:spChg>
        <pc:spChg chg="mod">
          <ac:chgData name="Ryterski Finn (HNE US-MI-PB-BO)" userId="efff052d-68b9-4e8d-b65b-45dff653056d" providerId="ADAL" clId="{870BDC5B-2E94-425D-B3D4-696163FAE54F}" dt="2025-04-07T05:36:05.053" v="3870"/>
          <ac:spMkLst>
            <pc:docMk/>
            <pc:sldMk cId="1570315638" sldId="4187"/>
            <ac:spMk id="261" creationId="{CFA7ECE7-E67E-C3F0-6FB0-A12FD3B34D62}"/>
          </ac:spMkLst>
        </pc:spChg>
        <pc:spChg chg="mod">
          <ac:chgData name="Ryterski Finn (HNE US-MI-PB-BO)" userId="efff052d-68b9-4e8d-b65b-45dff653056d" providerId="ADAL" clId="{870BDC5B-2E94-425D-B3D4-696163FAE54F}" dt="2025-04-07T05:36:05.054" v="3871"/>
          <ac:spMkLst>
            <pc:docMk/>
            <pc:sldMk cId="1570315638" sldId="4187"/>
            <ac:spMk id="262" creationId="{44EE496F-A9D5-6DC5-D6E7-F39E90375FB2}"/>
          </ac:spMkLst>
        </pc:spChg>
        <pc:spChg chg="mod">
          <ac:chgData name="Ryterski Finn (HNE US-MI-PB-BO)" userId="efff052d-68b9-4e8d-b65b-45dff653056d" providerId="ADAL" clId="{870BDC5B-2E94-425D-B3D4-696163FAE54F}" dt="2025-04-07T05:36:05.055" v="3872"/>
          <ac:spMkLst>
            <pc:docMk/>
            <pc:sldMk cId="1570315638" sldId="4187"/>
            <ac:spMk id="263" creationId="{1B0EDD13-86F5-1344-CC8F-853CA654932C}"/>
          </ac:spMkLst>
        </pc:spChg>
        <pc:spChg chg="mod">
          <ac:chgData name="Ryterski Finn (HNE US-MI-PB-BO)" userId="efff052d-68b9-4e8d-b65b-45dff653056d" providerId="ADAL" clId="{870BDC5B-2E94-425D-B3D4-696163FAE54F}" dt="2025-04-07T05:36:05.057" v="3873"/>
          <ac:spMkLst>
            <pc:docMk/>
            <pc:sldMk cId="1570315638" sldId="4187"/>
            <ac:spMk id="264" creationId="{BF8B140C-FCEF-2A5F-E177-5E09B9CAE3EC}"/>
          </ac:spMkLst>
        </pc:spChg>
        <pc:spChg chg="mod">
          <ac:chgData name="Ryterski Finn (HNE US-MI-PB-BO)" userId="efff052d-68b9-4e8d-b65b-45dff653056d" providerId="ADAL" clId="{870BDC5B-2E94-425D-B3D4-696163FAE54F}" dt="2025-04-07T05:36:05.058" v="3874"/>
          <ac:spMkLst>
            <pc:docMk/>
            <pc:sldMk cId="1570315638" sldId="4187"/>
            <ac:spMk id="265" creationId="{6A6AEE0D-A1A9-F786-581E-A54AE680B5AE}"/>
          </ac:spMkLst>
        </pc:spChg>
        <pc:spChg chg="mod">
          <ac:chgData name="Ryterski Finn (HNE US-MI-PB-BO)" userId="efff052d-68b9-4e8d-b65b-45dff653056d" providerId="ADAL" clId="{870BDC5B-2E94-425D-B3D4-696163FAE54F}" dt="2025-04-07T05:36:05.059" v="3875"/>
          <ac:spMkLst>
            <pc:docMk/>
            <pc:sldMk cId="1570315638" sldId="4187"/>
            <ac:spMk id="266" creationId="{EC251C56-601D-232E-84AD-979B8CBD5DF8}"/>
          </ac:spMkLst>
        </pc:spChg>
        <pc:spChg chg="mod">
          <ac:chgData name="Ryterski Finn (HNE US-MI-PB-BO)" userId="efff052d-68b9-4e8d-b65b-45dff653056d" providerId="ADAL" clId="{870BDC5B-2E94-425D-B3D4-696163FAE54F}" dt="2025-04-07T05:36:05.061" v="3876"/>
          <ac:spMkLst>
            <pc:docMk/>
            <pc:sldMk cId="1570315638" sldId="4187"/>
            <ac:spMk id="267" creationId="{E9D86C03-1E9F-14B1-101F-E602887AE27E}"/>
          </ac:spMkLst>
        </pc:spChg>
        <pc:spChg chg="mod">
          <ac:chgData name="Ryterski Finn (HNE US-MI-PB-BO)" userId="efff052d-68b9-4e8d-b65b-45dff653056d" providerId="ADAL" clId="{870BDC5B-2E94-425D-B3D4-696163FAE54F}" dt="2025-04-07T05:36:05.062" v="3877"/>
          <ac:spMkLst>
            <pc:docMk/>
            <pc:sldMk cId="1570315638" sldId="4187"/>
            <ac:spMk id="268" creationId="{5CB9A06C-A199-67FA-67D2-A4A5E4F577AC}"/>
          </ac:spMkLst>
        </pc:spChg>
        <pc:spChg chg="mod ord">
          <ac:chgData name="Ryterski Finn (HNE US-MI-PB-BO)" userId="efff052d-68b9-4e8d-b65b-45dff653056d" providerId="ADAL" clId="{870BDC5B-2E94-425D-B3D4-696163FAE54F}" dt="2025-04-07T05:36:05.063" v="3879"/>
          <ac:spMkLst>
            <pc:docMk/>
            <pc:sldMk cId="1570315638" sldId="4187"/>
            <ac:spMk id="269" creationId="{2664ABC3-2F85-B5CF-4845-02624666E804}"/>
          </ac:spMkLst>
        </pc:spChg>
        <pc:spChg chg="mod ord">
          <ac:chgData name="Ryterski Finn (HNE US-MI-PB-BO)" userId="efff052d-68b9-4e8d-b65b-45dff653056d" providerId="ADAL" clId="{870BDC5B-2E94-425D-B3D4-696163FAE54F}" dt="2025-04-07T05:36:05.065" v="3882"/>
          <ac:spMkLst>
            <pc:docMk/>
            <pc:sldMk cId="1570315638" sldId="4187"/>
            <ac:spMk id="271" creationId="{0161021D-20F7-6E39-3156-AED7EF43E426}"/>
          </ac:spMkLst>
        </pc:spChg>
        <pc:spChg chg="mod">
          <ac:chgData name="Ryterski Finn (HNE US-MI-PB-BO)" userId="efff052d-68b9-4e8d-b65b-45dff653056d" providerId="ADAL" clId="{870BDC5B-2E94-425D-B3D4-696163FAE54F}" dt="2025-04-07T05:36:05.067" v="3883"/>
          <ac:spMkLst>
            <pc:docMk/>
            <pc:sldMk cId="1570315638" sldId="4187"/>
            <ac:spMk id="272" creationId="{06AA85A3-53C7-3149-F337-4D4982AD83C5}"/>
          </ac:spMkLst>
        </pc:spChg>
        <pc:spChg chg="mod ord">
          <ac:chgData name="Ryterski Finn (HNE US-MI-PB-BO)" userId="efff052d-68b9-4e8d-b65b-45dff653056d" providerId="ADAL" clId="{870BDC5B-2E94-425D-B3D4-696163FAE54F}" dt="2025-04-07T05:36:05.068" v="3885"/>
          <ac:spMkLst>
            <pc:docMk/>
            <pc:sldMk cId="1570315638" sldId="4187"/>
            <ac:spMk id="273" creationId="{F536552C-0C1A-16ED-BF0C-51B7ABFA3FCF}"/>
          </ac:spMkLst>
        </pc:spChg>
        <pc:spChg chg="mod">
          <ac:chgData name="Ryterski Finn (HNE US-MI-PB-BO)" userId="efff052d-68b9-4e8d-b65b-45dff653056d" providerId="ADAL" clId="{870BDC5B-2E94-425D-B3D4-696163FAE54F}" dt="2025-04-07T05:36:05.069" v="3886"/>
          <ac:spMkLst>
            <pc:docMk/>
            <pc:sldMk cId="1570315638" sldId="4187"/>
            <ac:spMk id="275" creationId="{7F0FC0FF-B75F-F448-0D90-BBC684313DC0}"/>
          </ac:spMkLst>
        </pc:spChg>
        <pc:spChg chg="mod ord">
          <ac:chgData name="Ryterski Finn (HNE US-MI-PB-BO)" userId="efff052d-68b9-4e8d-b65b-45dff653056d" providerId="ADAL" clId="{870BDC5B-2E94-425D-B3D4-696163FAE54F}" dt="2025-04-07T05:36:05.071" v="3888"/>
          <ac:spMkLst>
            <pc:docMk/>
            <pc:sldMk cId="1570315638" sldId="4187"/>
            <ac:spMk id="276" creationId="{D4CD1C33-1050-4C92-C847-9FD50FBFD4BB}"/>
          </ac:spMkLst>
        </pc:spChg>
        <pc:spChg chg="mod">
          <ac:chgData name="Ryterski Finn (HNE US-MI-PB-BO)" userId="efff052d-68b9-4e8d-b65b-45dff653056d" providerId="ADAL" clId="{870BDC5B-2E94-425D-B3D4-696163FAE54F}" dt="2025-04-07T05:36:05.072" v="3889"/>
          <ac:spMkLst>
            <pc:docMk/>
            <pc:sldMk cId="1570315638" sldId="4187"/>
            <ac:spMk id="277" creationId="{454316D4-7BFA-AA19-FB13-154606862180}"/>
          </ac:spMkLst>
        </pc:spChg>
        <pc:spChg chg="mod ord">
          <ac:chgData name="Ryterski Finn (HNE US-MI-PB-BO)" userId="efff052d-68b9-4e8d-b65b-45dff653056d" providerId="ADAL" clId="{870BDC5B-2E94-425D-B3D4-696163FAE54F}" dt="2025-04-07T05:36:05.073" v="3891"/>
          <ac:spMkLst>
            <pc:docMk/>
            <pc:sldMk cId="1570315638" sldId="4187"/>
            <ac:spMk id="278" creationId="{4D88EDC2-5E07-2B3B-7CA7-163B69B1EE5D}"/>
          </ac:spMkLst>
        </pc:spChg>
        <pc:spChg chg="mod">
          <ac:chgData name="Ryterski Finn (HNE US-MI-PB-BO)" userId="efff052d-68b9-4e8d-b65b-45dff653056d" providerId="ADAL" clId="{870BDC5B-2E94-425D-B3D4-696163FAE54F}" dt="2025-04-07T05:36:05.074" v="3892"/>
          <ac:spMkLst>
            <pc:docMk/>
            <pc:sldMk cId="1570315638" sldId="4187"/>
            <ac:spMk id="279" creationId="{7D59C5A0-D9DD-5A63-CBDE-9A5C58DE05FA}"/>
          </ac:spMkLst>
        </pc:spChg>
        <pc:spChg chg="mod">
          <ac:chgData name="Ryterski Finn (HNE US-MI-PB-BO)" userId="efff052d-68b9-4e8d-b65b-45dff653056d" providerId="ADAL" clId="{870BDC5B-2E94-425D-B3D4-696163FAE54F}" dt="2025-04-07T05:36:05.075" v="3895"/>
          <ac:spMkLst>
            <pc:docMk/>
            <pc:sldMk cId="1570315638" sldId="4187"/>
            <ac:spMk id="280" creationId="{C1AECBC6-2364-EF63-B4BA-56EBB9796F9B}"/>
          </ac:spMkLst>
        </pc:spChg>
        <pc:spChg chg="mod ord">
          <ac:chgData name="Ryterski Finn (HNE US-MI-PB-BO)" userId="efff052d-68b9-4e8d-b65b-45dff653056d" providerId="ADAL" clId="{870BDC5B-2E94-425D-B3D4-696163FAE54F}" dt="2025-04-07T05:36:05.076" v="3897"/>
          <ac:spMkLst>
            <pc:docMk/>
            <pc:sldMk cId="1570315638" sldId="4187"/>
            <ac:spMk id="281" creationId="{B601187B-1429-4B59-CA35-C0C320616765}"/>
          </ac:spMkLst>
        </pc:spChg>
        <pc:spChg chg="mod">
          <ac:chgData name="Ryterski Finn (HNE US-MI-PB-BO)" userId="efff052d-68b9-4e8d-b65b-45dff653056d" providerId="ADAL" clId="{870BDC5B-2E94-425D-B3D4-696163FAE54F}" dt="2025-04-07T05:36:05.077" v="3898"/>
          <ac:spMkLst>
            <pc:docMk/>
            <pc:sldMk cId="1570315638" sldId="4187"/>
            <ac:spMk id="282" creationId="{C68F9F21-BF50-8643-7ABE-F3BAE9D449B5}"/>
          </ac:spMkLst>
        </pc:spChg>
        <pc:spChg chg="mod ord">
          <ac:chgData name="Ryterski Finn (HNE US-MI-PB-BO)" userId="efff052d-68b9-4e8d-b65b-45dff653056d" providerId="ADAL" clId="{870BDC5B-2E94-425D-B3D4-696163FAE54F}" dt="2025-04-07T05:36:05.078" v="3900"/>
          <ac:spMkLst>
            <pc:docMk/>
            <pc:sldMk cId="1570315638" sldId="4187"/>
            <ac:spMk id="283" creationId="{A561011D-6BD9-7EC2-64F3-2C45E78AD090}"/>
          </ac:spMkLst>
        </pc:spChg>
        <pc:spChg chg="mod ord">
          <ac:chgData name="Ryterski Finn (HNE US-MI-PB-BO)" userId="efff052d-68b9-4e8d-b65b-45dff653056d" providerId="ADAL" clId="{870BDC5B-2E94-425D-B3D4-696163FAE54F}" dt="2025-04-07T05:36:05.079" v="3902"/>
          <ac:spMkLst>
            <pc:docMk/>
            <pc:sldMk cId="1570315638" sldId="4187"/>
            <ac:spMk id="284" creationId="{33F54A9F-2331-25C9-87D7-AC5D88F618A9}"/>
          </ac:spMkLst>
        </pc:spChg>
        <pc:spChg chg="mod ord">
          <ac:chgData name="Ryterski Finn (HNE US-MI-PB-BO)" userId="efff052d-68b9-4e8d-b65b-45dff653056d" providerId="ADAL" clId="{870BDC5B-2E94-425D-B3D4-696163FAE54F}" dt="2025-04-07T05:36:05.080" v="3904"/>
          <ac:spMkLst>
            <pc:docMk/>
            <pc:sldMk cId="1570315638" sldId="4187"/>
            <ac:spMk id="285" creationId="{8645DDE3-7C68-C2DC-6037-21AC87F95BF8}"/>
          </ac:spMkLst>
        </pc:spChg>
        <pc:spChg chg="mod ord">
          <ac:chgData name="Ryterski Finn (HNE US-MI-PB-BO)" userId="efff052d-68b9-4e8d-b65b-45dff653056d" providerId="ADAL" clId="{870BDC5B-2E94-425D-B3D4-696163FAE54F}" dt="2025-04-07T05:36:05.081" v="3906"/>
          <ac:spMkLst>
            <pc:docMk/>
            <pc:sldMk cId="1570315638" sldId="4187"/>
            <ac:spMk id="287" creationId="{270FE8C2-3F26-C404-5850-4FEBF0443483}"/>
          </ac:spMkLst>
        </pc:spChg>
        <pc:spChg chg="mod">
          <ac:chgData name="Ryterski Finn (HNE US-MI-PB-BO)" userId="efff052d-68b9-4e8d-b65b-45dff653056d" providerId="ADAL" clId="{870BDC5B-2E94-425D-B3D4-696163FAE54F}" dt="2025-04-07T05:36:05.082" v="3907"/>
          <ac:spMkLst>
            <pc:docMk/>
            <pc:sldMk cId="1570315638" sldId="4187"/>
            <ac:spMk id="288" creationId="{C8BE8632-B4B1-E180-4CE1-D500C35A975B}"/>
          </ac:spMkLst>
        </pc:spChg>
        <pc:spChg chg="mod">
          <ac:chgData name="Ryterski Finn (HNE US-MI-PB-BO)" userId="efff052d-68b9-4e8d-b65b-45dff653056d" providerId="ADAL" clId="{870BDC5B-2E94-425D-B3D4-696163FAE54F}" dt="2025-04-07T05:36:05.083" v="3908"/>
          <ac:spMkLst>
            <pc:docMk/>
            <pc:sldMk cId="1570315638" sldId="4187"/>
            <ac:spMk id="290" creationId="{CF6966ED-5B98-C219-C42D-71D320A32970}"/>
          </ac:spMkLst>
        </pc:spChg>
        <pc:spChg chg="mod ord">
          <ac:chgData name="Ryterski Finn (HNE US-MI-PB-BO)" userId="efff052d-68b9-4e8d-b65b-45dff653056d" providerId="ADAL" clId="{870BDC5B-2E94-425D-B3D4-696163FAE54F}" dt="2025-04-07T05:36:05.084" v="3910"/>
          <ac:spMkLst>
            <pc:docMk/>
            <pc:sldMk cId="1570315638" sldId="4187"/>
            <ac:spMk id="291" creationId="{3D9E3634-C22A-A1E5-6536-93A0E74931E1}"/>
          </ac:spMkLst>
        </pc:spChg>
        <pc:grpChg chg="mod ord">
          <ac:chgData name="Ryterski Finn (HNE US-MI-PB-BO)" userId="efff052d-68b9-4e8d-b65b-45dff653056d" providerId="ADAL" clId="{870BDC5B-2E94-425D-B3D4-696163FAE54F}" dt="2025-04-09T06:45:51.659" v="41718" actId="14100"/>
          <ac:grpSpMkLst>
            <pc:docMk/>
            <pc:sldMk cId="1570315638" sldId="4187"/>
            <ac:grpSpMk id="3" creationId="{B9C7E163-7EA9-FBB1-EFBE-6D5DBC8147DB}"/>
          </ac:grpSpMkLst>
        </pc:grpChg>
        <pc:grpChg chg="mod ord">
          <ac:chgData name="Ryterski Finn (HNE US-MI-PB-BO)" userId="efff052d-68b9-4e8d-b65b-45dff653056d" providerId="ADAL" clId="{870BDC5B-2E94-425D-B3D4-696163FAE54F}" dt="2025-04-07T05:36:05.085" v="3912"/>
          <ac:grpSpMkLst>
            <pc:docMk/>
            <pc:sldMk cId="1570315638" sldId="4187"/>
            <ac:grpSpMk id="12" creationId="{4BE9562D-D24E-4B4E-BEB4-E0C406B6B810}"/>
          </ac:grpSpMkLst>
        </pc:grpChg>
        <pc:grpChg chg="mod ord">
          <ac:chgData name="Ryterski Finn (HNE US-MI-PB-BO)" userId="efff052d-68b9-4e8d-b65b-45dff653056d" providerId="ADAL" clId="{870BDC5B-2E94-425D-B3D4-696163FAE54F}" dt="2025-04-07T05:36:05.010" v="3809"/>
          <ac:grpSpMkLst>
            <pc:docMk/>
            <pc:sldMk cId="1570315638" sldId="4187"/>
            <ac:grpSpMk id="62" creationId="{96C0DB1D-56A5-F54A-D3F9-1041585B1177}"/>
          </ac:grpSpMkLst>
        </pc:grpChg>
        <pc:grpChg chg="mod ord">
          <ac:chgData name="Ryterski Finn (HNE US-MI-PB-BO)" userId="efff052d-68b9-4e8d-b65b-45dff653056d" providerId="ADAL" clId="{870BDC5B-2E94-425D-B3D4-696163FAE54F}" dt="2025-04-07T05:36:05.009" v="3807"/>
          <ac:grpSpMkLst>
            <pc:docMk/>
            <pc:sldMk cId="1570315638" sldId="4187"/>
            <ac:grpSpMk id="80" creationId="{52E9DD9A-6392-55AF-C813-F152CDBE9554}"/>
          </ac:grpSpMkLst>
        </pc:grpChg>
        <pc:graphicFrameChg chg="add del mod">
          <ac:chgData name="Ryterski Finn (HNE US-MI-PB-BO)" userId="efff052d-68b9-4e8d-b65b-45dff653056d" providerId="ADAL" clId="{870BDC5B-2E94-425D-B3D4-696163FAE54F}" dt="2025-04-07T05:35:55.038" v="3410"/>
          <ac:graphicFrameMkLst>
            <pc:docMk/>
            <pc:sldMk cId="1570315638" sldId="4187"/>
            <ac:graphicFrameMk id="20" creationId="{339CE2CC-37E4-F805-240F-7394ED47997F}"/>
          </ac:graphicFrameMkLst>
        </pc:graphicFrameChg>
        <pc:graphicFrameChg chg="mod">
          <ac:chgData name="Ryterski Finn (HNE US-MI-PB-BO)" userId="efff052d-68b9-4e8d-b65b-45dff653056d" providerId="ADAL" clId="{870BDC5B-2E94-425D-B3D4-696163FAE54F}" dt="2025-04-07T05:36:05.088" v="3916"/>
          <ac:graphicFrameMkLst>
            <pc:docMk/>
            <pc:sldMk cId="1570315638" sldId="4187"/>
            <ac:graphicFrameMk id="24" creationId="{5BB6581D-0A15-9E97-ABCD-EBA75FE7BC69}"/>
          </ac:graphicFrameMkLst>
        </pc:graphicFrameChg>
        <pc:graphicFrameChg chg="add del mod">
          <ac:chgData name="Ryterski Finn (HNE US-MI-PB-BO)" userId="efff052d-68b9-4e8d-b65b-45dff653056d" providerId="ADAL" clId="{870BDC5B-2E94-425D-B3D4-696163FAE54F}" dt="2025-04-07T05:35:52.319" v="3275" actId="1076"/>
          <ac:graphicFrameMkLst>
            <pc:docMk/>
            <pc:sldMk cId="1570315638" sldId="4187"/>
            <ac:graphicFrameMk id="58" creationId="{A1D230E8-1330-CCB0-F34D-C801039FD124}"/>
          </ac:graphicFrameMkLst>
        </pc:graphicFrameChg>
        <pc:graphicFrameChg chg="add mod">
          <ac:chgData name="Ryterski Finn (HNE US-MI-PB-BO)" userId="efff052d-68b9-4e8d-b65b-45dff653056d" providerId="ADAL" clId="{870BDC5B-2E94-425D-B3D4-696163FAE54F}" dt="2025-04-07T05:35:52.229" v="3193" actId="1076"/>
          <ac:graphicFrameMkLst>
            <pc:docMk/>
            <pc:sldMk cId="1570315638" sldId="4187"/>
            <ac:graphicFrameMk id="78" creationId="{F2DDA63C-982F-806B-1752-853EDD2DEA19}"/>
          </ac:graphicFrameMkLst>
        </pc:graphicFrameChg>
        <pc:graphicFrameChg chg="add del mod">
          <ac:chgData name="Ryterski Finn (HNE US-MI-PB-BO)" userId="efff052d-68b9-4e8d-b65b-45dff653056d" providerId="ADAL" clId="{870BDC5B-2E94-425D-B3D4-696163FAE54F}" dt="2025-04-07T05:35:55.869" v="3586"/>
          <ac:graphicFrameMkLst>
            <pc:docMk/>
            <pc:sldMk cId="1570315638" sldId="4187"/>
            <ac:graphicFrameMk id="81" creationId="{D3BF0849-5CBB-D3DC-D657-E686FB71C4FF}"/>
          </ac:graphicFrameMkLst>
        </pc:graphicFrameChg>
        <pc:graphicFrameChg chg="del">
          <ac:chgData name="Ryterski Finn (HNE US-MI-PB-BO)" userId="efff052d-68b9-4e8d-b65b-45dff653056d" providerId="ADAL" clId="{870BDC5B-2E94-425D-B3D4-696163FAE54F}" dt="2025-04-07T05:35:36.382" v="2656"/>
          <ac:graphicFrameMkLst>
            <pc:docMk/>
            <pc:sldMk cId="1570315638" sldId="4187"/>
            <ac:graphicFrameMk id="82" creationId="{C2A4DBAB-DDB1-FC59-D94D-46C7AAAEEAC7}"/>
          </ac:graphicFrameMkLst>
        </pc:graphicFrameChg>
        <pc:graphicFrameChg chg="add del mod">
          <ac:chgData name="Ryterski Finn (HNE US-MI-PB-BO)" userId="efff052d-68b9-4e8d-b65b-45dff653056d" providerId="ADAL" clId="{870BDC5B-2E94-425D-B3D4-696163FAE54F}" dt="2025-04-07T05:36:04.974" v="3794"/>
          <ac:graphicFrameMkLst>
            <pc:docMk/>
            <pc:sldMk cId="1570315638" sldId="4187"/>
            <ac:graphicFrameMk id="84" creationId="{2EB8B4FC-BCF1-D3F7-68FE-ADD00FB12210}"/>
          </ac:graphicFrameMkLst>
        </pc:graphicFrameChg>
        <pc:graphicFrameChg chg="add mod">
          <ac:chgData name="Ryterski Finn (HNE US-MI-PB-BO)" userId="efff052d-68b9-4e8d-b65b-45dff653056d" providerId="ADAL" clId="{870BDC5B-2E94-425D-B3D4-696163FAE54F}" dt="2025-04-07T05:36:05.049" v="3866"/>
          <ac:graphicFrameMkLst>
            <pc:docMk/>
            <pc:sldMk cId="1570315638" sldId="4187"/>
            <ac:graphicFrameMk id="86" creationId="{78F5809C-AB6D-F193-BCF8-A681FA1E1EF7}"/>
          </ac:graphicFrameMkLst>
        </pc:graphicFrameChg>
        <pc:cxnChg chg="mod ord">
          <ac:chgData name="Ryterski Finn (HNE US-MI-PB-BO)" userId="efff052d-68b9-4e8d-b65b-45dff653056d" providerId="ADAL" clId="{870BDC5B-2E94-425D-B3D4-696163FAE54F}" dt="2025-04-07T05:36:05.034" v="3843"/>
          <ac:cxnSpMkLst>
            <pc:docMk/>
            <pc:sldMk cId="1570315638" sldId="4187"/>
            <ac:cxnSpMk id="41" creationId="{B8BF2938-483F-FF1E-A094-AF70C808687F}"/>
          </ac:cxnSpMkLst>
        </pc:cxnChg>
        <pc:cxnChg chg="mod ord">
          <ac:chgData name="Ryterski Finn (HNE US-MI-PB-BO)" userId="efff052d-68b9-4e8d-b65b-45dff653056d" providerId="ADAL" clId="{870BDC5B-2E94-425D-B3D4-696163FAE54F}" dt="2025-04-07T05:36:05.036" v="3845"/>
          <ac:cxnSpMkLst>
            <pc:docMk/>
            <pc:sldMk cId="1570315638" sldId="4187"/>
            <ac:cxnSpMk id="44" creationId="{05F67BDC-5EEC-A37B-1C0D-E66EDE6D292D}"/>
          </ac:cxnSpMkLst>
        </pc:cxnChg>
        <pc:cxnChg chg="mod ord">
          <ac:chgData name="Ryterski Finn (HNE US-MI-PB-BO)" userId="efff052d-68b9-4e8d-b65b-45dff653056d" providerId="ADAL" clId="{870BDC5B-2E94-425D-B3D4-696163FAE54F}" dt="2025-04-07T05:36:05.037" v="3847"/>
          <ac:cxnSpMkLst>
            <pc:docMk/>
            <pc:sldMk cId="1570315638" sldId="4187"/>
            <ac:cxnSpMk id="46" creationId="{9F51043F-5010-63DF-2138-6502451D4314}"/>
          </ac:cxnSpMkLst>
        </pc:cxnChg>
        <pc:cxnChg chg="mod ord">
          <ac:chgData name="Ryterski Finn (HNE US-MI-PB-BO)" userId="efff052d-68b9-4e8d-b65b-45dff653056d" providerId="ADAL" clId="{870BDC5B-2E94-425D-B3D4-696163FAE54F}" dt="2025-04-07T05:36:05.038" v="3849"/>
          <ac:cxnSpMkLst>
            <pc:docMk/>
            <pc:sldMk cId="1570315638" sldId="4187"/>
            <ac:cxnSpMk id="48" creationId="{A93D73E1-0A3E-FFFF-22CB-D73CE4CF9B2E}"/>
          </ac:cxnSpMkLst>
        </pc:cxnChg>
        <pc:cxnChg chg="mod ord">
          <ac:chgData name="Ryterski Finn (HNE US-MI-PB-BO)" userId="efff052d-68b9-4e8d-b65b-45dff653056d" providerId="ADAL" clId="{870BDC5B-2E94-425D-B3D4-696163FAE54F}" dt="2025-04-07T05:36:05.040" v="3851"/>
          <ac:cxnSpMkLst>
            <pc:docMk/>
            <pc:sldMk cId="1570315638" sldId="4187"/>
            <ac:cxnSpMk id="49" creationId="{52F7B29E-ACC9-20E4-0741-3093441B90E3}"/>
          </ac:cxnSpMkLst>
        </pc:cxnChg>
        <pc:cxnChg chg="mod ord">
          <ac:chgData name="Ryterski Finn (HNE US-MI-PB-BO)" userId="efff052d-68b9-4e8d-b65b-45dff653056d" providerId="ADAL" clId="{870BDC5B-2E94-425D-B3D4-696163FAE54F}" dt="2025-04-07T05:36:05.041" v="3853"/>
          <ac:cxnSpMkLst>
            <pc:docMk/>
            <pc:sldMk cId="1570315638" sldId="4187"/>
            <ac:cxnSpMk id="50" creationId="{7235240A-D206-1396-296A-A89D58C8A62B}"/>
          </ac:cxnSpMkLst>
        </pc:cxnChg>
        <pc:cxnChg chg="mod ord">
          <ac:chgData name="Ryterski Finn (HNE US-MI-PB-BO)" userId="efff052d-68b9-4e8d-b65b-45dff653056d" providerId="ADAL" clId="{870BDC5B-2E94-425D-B3D4-696163FAE54F}" dt="2025-04-07T05:36:05.042" v="3855"/>
          <ac:cxnSpMkLst>
            <pc:docMk/>
            <pc:sldMk cId="1570315638" sldId="4187"/>
            <ac:cxnSpMk id="51" creationId="{87423805-3AE4-5EA2-145E-C74BEEE3379E}"/>
          </ac:cxnSpMkLst>
        </pc:cxnChg>
        <pc:cxnChg chg="mod ord">
          <ac:chgData name="Ryterski Finn (HNE US-MI-PB-BO)" userId="efff052d-68b9-4e8d-b65b-45dff653056d" providerId="ADAL" clId="{870BDC5B-2E94-425D-B3D4-696163FAE54F}" dt="2025-04-07T05:36:05.043" v="3857"/>
          <ac:cxnSpMkLst>
            <pc:docMk/>
            <pc:sldMk cId="1570315638" sldId="4187"/>
            <ac:cxnSpMk id="55" creationId="{170C0AD0-6291-F58F-68E8-BDC0A83A5D34}"/>
          </ac:cxnSpMkLst>
        </pc:cxnChg>
        <pc:cxnChg chg="mod ord">
          <ac:chgData name="Ryterski Finn (HNE US-MI-PB-BO)" userId="efff052d-68b9-4e8d-b65b-45dff653056d" providerId="ADAL" clId="{870BDC5B-2E94-425D-B3D4-696163FAE54F}" dt="2025-04-07T05:36:05.045" v="3859"/>
          <ac:cxnSpMkLst>
            <pc:docMk/>
            <pc:sldMk cId="1570315638" sldId="4187"/>
            <ac:cxnSpMk id="56" creationId="{F5CAE5ED-84B4-C3AE-E3FF-3BC85B9AB353}"/>
          </ac:cxnSpMkLst>
        </pc:cxnChg>
        <pc:cxnChg chg="mod ord">
          <ac:chgData name="Ryterski Finn (HNE US-MI-PB-BO)" userId="efff052d-68b9-4e8d-b65b-45dff653056d" providerId="ADAL" clId="{870BDC5B-2E94-425D-B3D4-696163FAE54F}" dt="2025-04-07T05:36:05.046" v="3861"/>
          <ac:cxnSpMkLst>
            <pc:docMk/>
            <pc:sldMk cId="1570315638" sldId="4187"/>
            <ac:cxnSpMk id="57" creationId="{E773C7E4-B6E9-C09A-7A5E-1202ADFA3328}"/>
          </ac:cxnSpMkLst>
        </pc:cxnChg>
        <pc:cxnChg chg="mod ord">
          <ac:chgData name="Ryterski Finn (HNE US-MI-PB-BO)" userId="efff052d-68b9-4e8d-b65b-45dff653056d" providerId="ADAL" clId="{870BDC5B-2E94-425D-B3D4-696163FAE54F}" dt="2025-04-07T05:36:05.064" v="3881"/>
          <ac:cxnSpMkLst>
            <pc:docMk/>
            <pc:sldMk cId="1570315638" sldId="4187"/>
            <ac:cxnSpMk id="270" creationId="{34525DEF-E77A-7824-0FD6-4DB13B66828F}"/>
          </ac:cxnSpMkLst>
        </pc:cxnChg>
      </pc:sldChg>
      <pc:sldChg chg="addSp delSp modSp mod modNotesTx">
        <pc:chgData name="Ryterski Finn (HNE US-MI-PB-BO)" userId="efff052d-68b9-4e8d-b65b-45dff653056d" providerId="ADAL" clId="{870BDC5B-2E94-425D-B3D4-696163FAE54F}" dt="2025-04-09T07:39:26.606" v="46654" actId="113"/>
        <pc:sldMkLst>
          <pc:docMk/>
          <pc:sldMk cId="807782997" sldId="4188"/>
        </pc:sldMkLst>
        <pc:spChg chg="del">
          <ac:chgData name="Ryterski Finn (HNE US-MI-PB-BO)" userId="efff052d-68b9-4e8d-b65b-45dff653056d" providerId="ADAL" clId="{870BDC5B-2E94-425D-B3D4-696163FAE54F}" dt="2025-04-07T07:05:06.084" v="21086" actId="478"/>
          <ac:spMkLst>
            <pc:docMk/>
            <pc:sldMk cId="807782997" sldId="4188"/>
            <ac:spMk id="2" creationId="{A8D2996B-460E-299D-7A1C-62E84694958E}"/>
          </ac:spMkLst>
        </pc:spChg>
        <pc:spChg chg="mod">
          <ac:chgData name="Ryterski Finn (HNE US-MI-PB-BO)" userId="efff052d-68b9-4e8d-b65b-45dff653056d" providerId="ADAL" clId="{870BDC5B-2E94-425D-B3D4-696163FAE54F}" dt="2025-04-09T07:22:11.462" v="42484" actId="13926"/>
          <ac:spMkLst>
            <pc:docMk/>
            <pc:sldMk cId="807782997" sldId="4188"/>
            <ac:spMk id="3" creationId="{40AD92B9-4349-B53B-8C49-4BDAC2C5D82B}"/>
          </ac:spMkLst>
        </pc:spChg>
        <pc:spChg chg="add del mod">
          <ac:chgData name="Ryterski Finn (HNE US-MI-PB-BO)" userId="efff052d-68b9-4e8d-b65b-45dff653056d" providerId="ADAL" clId="{870BDC5B-2E94-425D-B3D4-696163FAE54F}" dt="2025-04-07T08:55:30.937" v="31715" actId="478"/>
          <ac:spMkLst>
            <pc:docMk/>
            <pc:sldMk cId="807782997" sldId="4188"/>
            <ac:spMk id="4" creationId="{10DB9FFE-59F7-D030-5C6C-EAC24AA39435}"/>
          </ac:spMkLst>
        </pc:spChg>
        <pc:spChg chg="mod">
          <ac:chgData name="Ryterski Finn (HNE US-MI-PB-BO)" userId="efff052d-68b9-4e8d-b65b-45dff653056d" providerId="ADAL" clId="{870BDC5B-2E94-425D-B3D4-696163FAE54F}" dt="2025-04-07T08:43:00.281" v="28696" actId="948"/>
          <ac:spMkLst>
            <pc:docMk/>
            <pc:sldMk cId="807782997" sldId="4188"/>
            <ac:spMk id="5" creationId="{E3E3D505-2ED3-60D2-AB59-7D13A6AA58C8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7:48:52.616" v="23429"/>
          <ac:spMkLst>
            <pc:docMk/>
            <pc:sldMk cId="807782997" sldId="4188"/>
            <ac:spMk id="6" creationId="{83C6B52C-3DD0-D02C-31F5-4660163B4509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7:49:24.401" v="23630"/>
          <ac:spMkLst>
            <pc:docMk/>
            <pc:sldMk cId="807782997" sldId="4188"/>
            <ac:spMk id="11" creationId="{7261949D-36B6-7724-BC26-83C6DD4B744D}"/>
          </ac:spMkLst>
        </pc:spChg>
        <pc:spChg chg="mod">
          <ac:chgData name="Ryterski Finn (HNE US-MI-PB-BO)" userId="efff052d-68b9-4e8d-b65b-45dff653056d" providerId="ADAL" clId="{870BDC5B-2E94-425D-B3D4-696163FAE54F}" dt="2025-04-07T07:49:24.353" v="23603" actId="207"/>
          <ac:spMkLst>
            <pc:docMk/>
            <pc:sldMk cId="807782997" sldId="4188"/>
            <ac:spMk id="12" creationId="{EF350222-EAF1-41F8-26FB-1AF7FDE49DB6}"/>
          </ac:spMkLst>
        </pc:spChg>
        <pc:spChg chg="mod">
          <ac:chgData name="Ryterski Finn (HNE US-MI-PB-BO)" userId="efff052d-68b9-4e8d-b65b-45dff653056d" providerId="ADAL" clId="{870BDC5B-2E94-425D-B3D4-696163FAE54F}" dt="2025-04-07T08:42:55.911" v="28693"/>
          <ac:spMkLst>
            <pc:docMk/>
            <pc:sldMk cId="807782997" sldId="4188"/>
            <ac:spMk id="13" creationId="{E7DADAD5-4B92-806A-9C8D-1ED64AC82571}"/>
          </ac:spMkLst>
        </pc:spChg>
        <pc:spChg chg="mod">
          <ac:chgData name="Ryterski Finn (HNE US-MI-PB-BO)" userId="efff052d-68b9-4e8d-b65b-45dff653056d" providerId="ADAL" clId="{870BDC5B-2E94-425D-B3D4-696163FAE54F}" dt="2025-04-07T08:43:00.300" v="28710"/>
          <ac:spMkLst>
            <pc:docMk/>
            <pc:sldMk cId="807782997" sldId="4188"/>
            <ac:spMk id="15" creationId="{0552BE15-14B7-4093-A214-AF8344D4188F}"/>
          </ac:spMkLst>
        </pc:spChg>
        <pc:spChg chg="mod">
          <ac:chgData name="Ryterski Finn (HNE US-MI-PB-BO)" userId="efff052d-68b9-4e8d-b65b-45dff653056d" providerId="ADAL" clId="{870BDC5B-2E94-425D-B3D4-696163FAE54F}" dt="2025-04-07T08:42:47.301" v="28611" actId="207"/>
          <ac:spMkLst>
            <pc:docMk/>
            <pc:sldMk cId="807782997" sldId="4188"/>
            <ac:spMk id="27" creationId="{A368AADB-1662-3606-36A7-09EAFDA7B039}"/>
          </ac:spMkLst>
        </pc:spChg>
        <pc:spChg chg="mod">
          <ac:chgData name="Ryterski Finn (HNE US-MI-PB-BO)" userId="efff052d-68b9-4e8d-b65b-45dff653056d" providerId="ADAL" clId="{870BDC5B-2E94-425D-B3D4-696163FAE54F}" dt="2025-04-07T08:42:49.546" v="28644"/>
          <ac:spMkLst>
            <pc:docMk/>
            <pc:sldMk cId="807782997" sldId="4188"/>
            <ac:spMk id="30" creationId="{11460292-A63D-022D-AEC9-EF4BA570672B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8:42:47.350" v="28638"/>
          <ac:spMkLst>
            <pc:docMk/>
            <pc:sldMk cId="807782997" sldId="4188"/>
            <ac:spMk id="31" creationId="{D785A974-08B6-076C-54AE-CDA6EB2F2EBD}"/>
          </ac:spMkLst>
        </pc:spChg>
        <pc:spChg chg="mod">
          <ac:chgData name="Ryterski Finn (HNE US-MI-PB-BO)" userId="efff052d-68b9-4e8d-b65b-45dff653056d" providerId="ADAL" clId="{870BDC5B-2E94-425D-B3D4-696163FAE54F}" dt="2025-04-07T07:49:09.991" v="23531"/>
          <ac:spMkLst>
            <pc:docMk/>
            <pc:sldMk cId="807782997" sldId="4188"/>
            <ac:spMk id="32" creationId="{F1A51DE5-3B7B-A1E2-13BA-156B70946759}"/>
          </ac:spMkLst>
        </pc:spChg>
        <pc:spChg chg="mod">
          <ac:chgData name="Ryterski Finn (HNE US-MI-PB-BO)" userId="efff052d-68b9-4e8d-b65b-45dff653056d" providerId="ADAL" clId="{870BDC5B-2E94-425D-B3D4-696163FAE54F}" dt="2025-04-07T07:48:58.079" v="23463"/>
          <ac:spMkLst>
            <pc:docMk/>
            <pc:sldMk cId="807782997" sldId="4188"/>
            <ac:spMk id="33" creationId="{F07AFBB3-9705-E9ED-D9FB-DB0FE5C56636}"/>
          </ac:spMkLst>
        </pc:spChg>
        <pc:spChg chg="mod">
          <ac:chgData name="Ryterski Finn (HNE US-MI-PB-BO)" userId="efff052d-68b9-4e8d-b65b-45dff653056d" providerId="ADAL" clId="{870BDC5B-2E94-425D-B3D4-696163FAE54F}" dt="2025-04-07T07:49:02.969" v="23497"/>
          <ac:spMkLst>
            <pc:docMk/>
            <pc:sldMk cId="807782997" sldId="4188"/>
            <ac:spMk id="34" creationId="{7ED82E7E-F881-A2F3-0205-863CB4B22824}"/>
          </ac:spMkLst>
        </pc:spChg>
        <pc:spChg chg="add del mod">
          <ac:chgData name="Ryterski Finn (HNE US-MI-PB-BO)" userId="efff052d-68b9-4e8d-b65b-45dff653056d" providerId="ADAL" clId="{870BDC5B-2E94-425D-B3D4-696163FAE54F}" dt="2025-04-07T08:42:47.348" v="28636"/>
          <ac:spMkLst>
            <pc:docMk/>
            <pc:sldMk cId="807782997" sldId="4188"/>
            <ac:spMk id="35" creationId="{FDABF5E3-6D6E-6005-EB28-F68D461EE5CB}"/>
          </ac:spMkLst>
        </pc:spChg>
        <pc:spChg chg="add mod">
          <ac:chgData name="Ryterski Finn (HNE US-MI-PB-BO)" userId="efff052d-68b9-4e8d-b65b-45dff653056d" providerId="ADAL" clId="{870BDC5B-2E94-425D-B3D4-696163FAE54F}" dt="2025-04-07T08:55:31.178" v="31716"/>
          <ac:spMkLst>
            <pc:docMk/>
            <pc:sldMk cId="807782997" sldId="4188"/>
            <ac:spMk id="36" creationId="{808616A0-80EE-7A02-B6F5-2A5E7B0F5597}"/>
          </ac:spMkLst>
        </pc:spChg>
        <pc:spChg chg="del">
          <ac:chgData name="Ryterski Finn (HNE US-MI-PB-BO)" userId="efff052d-68b9-4e8d-b65b-45dff653056d" providerId="ADAL" clId="{870BDC5B-2E94-425D-B3D4-696163FAE54F}" dt="2025-04-07T07:49:24.400" v="23628"/>
          <ac:spMkLst>
            <pc:docMk/>
            <pc:sldMk cId="807782997" sldId="4188"/>
            <ac:spMk id="38" creationId="{8037923F-F8B2-24E3-F65B-964C776FED77}"/>
          </ac:spMkLst>
        </pc:spChg>
        <pc:spChg chg="mod">
          <ac:chgData name="Ryterski Finn (HNE US-MI-PB-BO)" userId="efff052d-68b9-4e8d-b65b-45dff653056d" providerId="ADAL" clId="{870BDC5B-2E94-425D-B3D4-696163FAE54F}" dt="2025-04-09T07:39:26.606" v="46654" actId="113"/>
          <ac:spMkLst>
            <pc:docMk/>
            <pc:sldMk cId="807782997" sldId="4188"/>
            <ac:spMk id="49" creationId="{69F6F56B-150D-D07F-CEFC-B2688AAC3544}"/>
          </ac:spMkLst>
        </pc:spChg>
        <pc:spChg chg="mod">
          <ac:chgData name="Ryterski Finn (HNE US-MI-PB-BO)" userId="efff052d-68b9-4e8d-b65b-45dff653056d" providerId="ADAL" clId="{870BDC5B-2E94-425D-B3D4-696163FAE54F}" dt="2025-04-09T07:38:58.294" v="46650" actId="20577"/>
          <ac:spMkLst>
            <pc:docMk/>
            <pc:sldMk cId="807782997" sldId="4188"/>
            <ac:spMk id="80" creationId="{19C324D8-4FA6-ADAC-2D1B-B8771887EAF9}"/>
          </ac:spMkLst>
        </pc:spChg>
        <pc:grpChg chg="mod">
          <ac:chgData name="Ryterski Finn (HNE US-MI-PB-BO)" userId="efff052d-68b9-4e8d-b65b-45dff653056d" providerId="ADAL" clId="{870BDC5B-2E94-425D-B3D4-696163FAE54F}" dt="2025-04-07T07:51:27.273" v="23967" actId="14100"/>
          <ac:grpSpMkLst>
            <pc:docMk/>
            <pc:sldMk cId="807782997" sldId="4188"/>
            <ac:grpSpMk id="48" creationId="{1F69EB3B-D900-8AAA-8C42-13E292E9F43B}"/>
          </ac:grpSpMkLst>
        </pc:grpChg>
        <pc:graphicFrameChg chg="mod">
          <ac:chgData name="Ryterski Finn (HNE US-MI-PB-BO)" userId="efff052d-68b9-4e8d-b65b-45dff653056d" providerId="ADAL" clId="{870BDC5B-2E94-425D-B3D4-696163FAE54F}" dt="2025-04-07T08:43:00.301" v="28712"/>
          <ac:graphicFrameMkLst>
            <pc:docMk/>
            <pc:sldMk cId="807782997" sldId="4188"/>
            <ac:graphicFrameMk id="23" creationId="{AEE21F73-ECE5-FE46-A269-72DD1D257277}"/>
          </ac:graphicFrameMkLst>
        </pc:graphicFrameChg>
      </pc:sldChg>
      <pc:sldChg chg="add del">
        <pc:chgData name="Ryterski Finn (HNE US-MI-PB-BO)" userId="efff052d-68b9-4e8d-b65b-45dff653056d" providerId="ADAL" clId="{870BDC5B-2E94-425D-B3D4-696163FAE54F}" dt="2025-04-07T08:56:40.236" v="31722" actId="47"/>
        <pc:sldMkLst>
          <pc:docMk/>
          <pc:sldMk cId="3864376638" sldId="4189"/>
        </pc:sldMkLst>
      </pc:sldChg>
      <pc:sldChg chg="addSp delSp modSp new mod ord modClrScheme addAnim delAnim modAnim modShow chgLayout">
        <pc:chgData name="Ryterski Finn (HNE US-MI-PB-BO)" userId="efff052d-68b9-4e8d-b65b-45dff653056d" providerId="ADAL" clId="{870BDC5B-2E94-425D-B3D4-696163FAE54F}" dt="2025-04-10T10:08:43.463" v="47481"/>
        <pc:sldMkLst>
          <pc:docMk/>
          <pc:sldMk cId="2825979349" sldId="4190"/>
        </pc:sldMkLst>
        <pc:spChg chg="add mod ord">
          <ac:chgData name="Ryterski Finn (HNE US-MI-PB-BO)" userId="efff052d-68b9-4e8d-b65b-45dff653056d" providerId="ADAL" clId="{870BDC5B-2E94-425D-B3D4-696163FAE54F}" dt="2025-04-09T07:43:08.265" v="47279"/>
          <ac:spMkLst>
            <pc:docMk/>
            <pc:sldMk cId="2825979349" sldId="4190"/>
            <ac:spMk id="2" creationId="{69D3F1FB-6561-0432-AF04-BF9F819EE43E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8:50:29.375" v="31556"/>
          <ac:spMkLst>
            <pc:docMk/>
            <pc:sldMk cId="2825979349" sldId="4190"/>
            <ac:spMk id="2" creationId="{F11124E3-FF71-FE50-3688-6D9A262C007E}"/>
          </ac:spMkLst>
        </pc:spChg>
        <pc:spChg chg="del">
          <ac:chgData name="Ryterski Finn (HNE US-MI-PB-BO)" userId="efff052d-68b9-4e8d-b65b-45dff653056d" providerId="ADAL" clId="{870BDC5B-2E94-425D-B3D4-696163FAE54F}" dt="2025-04-03T06:38:20.993" v="48" actId="478"/>
          <ac:spMkLst>
            <pc:docMk/>
            <pc:sldMk cId="2825979349" sldId="4190"/>
            <ac:spMk id="2" creationId="{F3CA9A6E-CF8B-98FA-EE52-21404A8D52F9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8:50:31.647" v="31594"/>
          <ac:spMkLst>
            <pc:docMk/>
            <pc:sldMk cId="2825979349" sldId="4190"/>
            <ac:spMk id="3" creationId="{7B961C3A-CAD6-6B86-0277-552C330A4954}"/>
          </ac:spMkLst>
        </pc:spChg>
        <pc:spChg chg="del">
          <ac:chgData name="Ryterski Finn (HNE US-MI-PB-BO)" userId="efff052d-68b9-4e8d-b65b-45dff653056d" providerId="ADAL" clId="{870BDC5B-2E94-425D-B3D4-696163FAE54F}" dt="2025-04-03T06:38:23.482" v="63" actId="478"/>
          <ac:spMkLst>
            <pc:docMk/>
            <pc:sldMk cId="2825979349" sldId="4190"/>
            <ac:spMk id="3" creationId="{88B8029F-1905-E47C-4C29-C64C0D1C2D27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67" v="47281"/>
          <ac:spMkLst>
            <pc:docMk/>
            <pc:sldMk cId="2825979349" sldId="4190"/>
            <ac:spMk id="3" creationId="{E16ED17A-1F18-3254-1FD9-22C56394A38F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68" v="47283"/>
          <ac:spMkLst>
            <pc:docMk/>
            <pc:sldMk cId="2825979349" sldId="4190"/>
            <ac:spMk id="4" creationId="{20428FE2-2B0B-314D-1D05-E4AFC080F95C}"/>
          </ac:spMkLst>
        </pc:spChg>
        <pc:spChg chg="del mod ord">
          <ac:chgData name="Ryterski Finn (HNE US-MI-PB-BO)" userId="efff052d-68b9-4e8d-b65b-45dff653056d" providerId="ADAL" clId="{870BDC5B-2E94-425D-B3D4-696163FAE54F}" dt="2025-04-03T06:38:33.456" v="64" actId="700"/>
          <ac:spMkLst>
            <pc:docMk/>
            <pc:sldMk cId="2825979349" sldId="4190"/>
            <ac:spMk id="4" creationId="{4A79F9EE-F3AA-04C6-BB74-CC761CD69CD9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8:50:33.107" v="31628"/>
          <ac:spMkLst>
            <pc:docMk/>
            <pc:sldMk cId="2825979349" sldId="4190"/>
            <ac:spMk id="4" creationId="{BB0D0721-3ED8-D6D8-31D0-B83A72675E97}"/>
          </ac:spMkLst>
        </pc:spChg>
        <pc:spChg chg="mod ord">
          <ac:chgData name="Ryterski Finn (HNE US-MI-PB-BO)" userId="efff052d-68b9-4e8d-b65b-45dff653056d" providerId="ADAL" clId="{870BDC5B-2E94-425D-B3D4-696163FAE54F}" dt="2025-04-09T07:43:07.957" v="46741"/>
          <ac:spMkLst>
            <pc:docMk/>
            <pc:sldMk cId="2825979349" sldId="4190"/>
            <ac:spMk id="5" creationId="{CA86A91B-12C3-943C-1D4C-791A0F8EDEEA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8:50:38.716" v="31656"/>
          <ac:spMkLst>
            <pc:docMk/>
            <pc:sldMk cId="2825979349" sldId="4190"/>
            <ac:spMk id="7" creationId="{0B616C59-3A60-F2AF-B097-DA2D44119BB9}"/>
          </ac:spMkLst>
        </pc:spChg>
        <pc:spChg chg="add del mod ord">
          <ac:chgData name="Ryterski Finn (HNE US-MI-PB-BO)" userId="efff052d-68b9-4e8d-b65b-45dff653056d" providerId="ADAL" clId="{870BDC5B-2E94-425D-B3D4-696163FAE54F}" dt="2025-04-03T06:38:43.014" v="66" actId="700"/>
          <ac:spMkLst>
            <pc:docMk/>
            <pc:sldMk cId="2825979349" sldId="4190"/>
            <ac:spMk id="7" creationId="{71F7774A-8949-7EC1-909A-DD2F34DDE8BF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69" v="47285"/>
          <ac:spMkLst>
            <pc:docMk/>
            <pc:sldMk cId="2825979349" sldId="4190"/>
            <ac:spMk id="7" creationId="{E22593FA-2503-7E94-35F5-B497DC1C6F69}"/>
          </ac:spMkLst>
        </pc:spChg>
        <pc:spChg chg="add del mod ord">
          <ac:chgData name="Ryterski Finn (HNE US-MI-PB-BO)" userId="efff052d-68b9-4e8d-b65b-45dff653056d" providerId="ADAL" clId="{870BDC5B-2E94-425D-B3D4-696163FAE54F}" dt="2025-04-03T06:38:36.873" v="65" actId="478"/>
          <ac:spMkLst>
            <pc:docMk/>
            <pc:sldMk cId="2825979349" sldId="4190"/>
            <ac:spMk id="8" creationId="{A896BB54-549A-946C-D260-C2FE5E18B3E6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15" v="46855"/>
          <ac:spMkLst>
            <pc:docMk/>
            <pc:sldMk cId="2825979349" sldId="4190"/>
            <ac:spMk id="8" creationId="{AA195E0B-4F99-8D82-2D02-CC8BE81D11BF}"/>
          </ac:spMkLst>
        </pc:spChg>
        <pc:spChg chg="add del mod ord">
          <ac:chgData name="Ryterski Finn (HNE US-MI-PB-BO)" userId="efff052d-68b9-4e8d-b65b-45dff653056d" providerId="ADAL" clId="{870BDC5B-2E94-425D-B3D4-696163FAE54F}" dt="2025-04-03T06:38:36.873" v="65" actId="478"/>
          <ac:spMkLst>
            <pc:docMk/>
            <pc:sldMk cId="2825979349" sldId="4190"/>
            <ac:spMk id="9" creationId="{24A59524-853D-4DC1-03CA-472B6C28B401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16" v="46857"/>
          <ac:spMkLst>
            <pc:docMk/>
            <pc:sldMk cId="2825979349" sldId="4190"/>
            <ac:spMk id="9" creationId="{6D979CE1-AC3F-83C8-A5DF-A72379B03706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17" v="46859"/>
          <ac:spMkLst>
            <pc:docMk/>
            <pc:sldMk cId="2825979349" sldId="4190"/>
            <ac:spMk id="10" creationId="{366C8507-FEA8-3419-BF79-325731396106}"/>
          </ac:spMkLst>
        </pc:spChg>
        <pc:spChg chg="add del mod ord">
          <ac:chgData name="Ryterski Finn (HNE US-MI-PB-BO)" userId="efff052d-68b9-4e8d-b65b-45dff653056d" providerId="ADAL" clId="{870BDC5B-2E94-425D-B3D4-696163FAE54F}" dt="2025-04-03T06:38:36.873" v="65" actId="478"/>
          <ac:spMkLst>
            <pc:docMk/>
            <pc:sldMk cId="2825979349" sldId="4190"/>
            <ac:spMk id="10" creationId="{D839AB38-8D88-9313-34E0-CC389B6A655B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18" v="46861"/>
          <ac:spMkLst>
            <pc:docMk/>
            <pc:sldMk cId="2825979349" sldId="4190"/>
            <ac:spMk id="11" creationId="{B20E1B13-AE74-407F-80BF-1EA497EA345F}"/>
          </ac:spMkLst>
        </pc:spChg>
        <pc:spChg chg="add del mod ord">
          <ac:chgData name="Ryterski Finn (HNE US-MI-PB-BO)" userId="efff052d-68b9-4e8d-b65b-45dff653056d" providerId="ADAL" clId="{870BDC5B-2E94-425D-B3D4-696163FAE54F}" dt="2025-04-03T06:38:36.873" v="65" actId="478"/>
          <ac:spMkLst>
            <pc:docMk/>
            <pc:sldMk cId="2825979349" sldId="4190"/>
            <ac:spMk id="11" creationId="{B459A9B4-53CB-A082-5ADA-5A1437602E1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19" v="46863"/>
          <ac:spMkLst>
            <pc:docMk/>
            <pc:sldMk cId="2825979349" sldId="4190"/>
            <ac:spMk id="12" creationId="{B341AFDF-B8E5-8A00-75EA-473E423445C8}"/>
          </ac:spMkLst>
        </pc:spChg>
        <pc:spChg chg="add del mod ord">
          <ac:chgData name="Ryterski Finn (HNE US-MI-PB-BO)" userId="efff052d-68b9-4e8d-b65b-45dff653056d" providerId="ADAL" clId="{870BDC5B-2E94-425D-B3D4-696163FAE54F}" dt="2025-04-03T06:38:36.873" v="65" actId="478"/>
          <ac:spMkLst>
            <pc:docMk/>
            <pc:sldMk cId="2825979349" sldId="4190"/>
            <ac:spMk id="12" creationId="{F61D23C0-DAB5-9391-1C9E-2416F1653EBB}"/>
          </ac:spMkLst>
        </pc:spChg>
        <pc:spChg chg="add del mod ord">
          <ac:chgData name="Ryterski Finn (HNE US-MI-PB-BO)" userId="efff052d-68b9-4e8d-b65b-45dff653056d" providerId="ADAL" clId="{870BDC5B-2E94-425D-B3D4-696163FAE54F}" dt="2025-04-03T06:38:36.873" v="65" actId="478"/>
          <ac:spMkLst>
            <pc:docMk/>
            <pc:sldMk cId="2825979349" sldId="4190"/>
            <ac:spMk id="13" creationId="{B8D33411-AC08-CBC2-3922-A43E3A0A6556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20" v="46865"/>
          <ac:spMkLst>
            <pc:docMk/>
            <pc:sldMk cId="2825979349" sldId="4190"/>
            <ac:spMk id="13" creationId="{FDFF978D-25C2-CD21-3710-EB1EDFBE1B82}"/>
          </ac:spMkLst>
        </pc:spChg>
        <pc:spChg chg="add del mod ord">
          <ac:chgData name="Ryterski Finn (HNE US-MI-PB-BO)" userId="efff052d-68b9-4e8d-b65b-45dff653056d" providerId="ADAL" clId="{870BDC5B-2E94-425D-B3D4-696163FAE54F}" dt="2025-04-03T06:38:36.873" v="65" actId="478"/>
          <ac:spMkLst>
            <pc:docMk/>
            <pc:sldMk cId="2825979349" sldId="4190"/>
            <ac:spMk id="14" creationId="{91614FB6-175B-FE61-27FB-69F7D4E3BEED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21" v="46867"/>
          <ac:spMkLst>
            <pc:docMk/>
            <pc:sldMk cId="2825979349" sldId="4190"/>
            <ac:spMk id="14" creationId="{B9C63526-59FD-B085-BF4B-6C7787503FD6}"/>
          </ac:spMkLst>
        </pc:spChg>
        <pc:spChg chg="add del mod ord">
          <ac:chgData name="Ryterski Finn (HNE US-MI-PB-BO)" userId="efff052d-68b9-4e8d-b65b-45dff653056d" providerId="ADAL" clId="{870BDC5B-2E94-425D-B3D4-696163FAE54F}" dt="2025-04-03T06:38:36.873" v="65" actId="478"/>
          <ac:spMkLst>
            <pc:docMk/>
            <pc:sldMk cId="2825979349" sldId="4190"/>
            <ac:spMk id="15" creationId="{B3E87E95-01B6-AC90-B35C-2BAE1FBA4D6D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22" v="46869"/>
          <ac:spMkLst>
            <pc:docMk/>
            <pc:sldMk cId="2825979349" sldId="4190"/>
            <ac:spMk id="15" creationId="{CDCA9FA3-3C47-BB59-3B6F-8632B450BFCF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23" v="46871"/>
          <ac:spMkLst>
            <pc:docMk/>
            <pc:sldMk cId="2825979349" sldId="4190"/>
            <ac:spMk id="16" creationId="{153D3880-CB5A-734F-96E4-13169F85A794}"/>
          </ac:spMkLst>
        </pc:spChg>
        <pc:spChg chg="add del mod ord">
          <ac:chgData name="Ryterski Finn (HNE US-MI-PB-BO)" userId="efff052d-68b9-4e8d-b65b-45dff653056d" providerId="ADAL" clId="{870BDC5B-2E94-425D-B3D4-696163FAE54F}" dt="2025-04-03T06:38:36.873" v="65" actId="478"/>
          <ac:spMkLst>
            <pc:docMk/>
            <pc:sldMk cId="2825979349" sldId="4190"/>
            <ac:spMk id="16" creationId="{58D1AC1F-3268-1A18-CF0B-76DB47983663}"/>
          </ac:spMkLst>
        </pc:spChg>
        <pc:spChg chg="add del mod ord">
          <ac:chgData name="Ryterski Finn (HNE US-MI-PB-BO)" userId="efff052d-68b9-4e8d-b65b-45dff653056d" providerId="ADAL" clId="{870BDC5B-2E94-425D-B3D4-696163FAE54F}" dt="2025-04-03T06:38:36.873" v="65" actId="478"/>
          <ac:spMkLst>
            <pc:docMk/>
            <pc:sldMk cId="2825979349" sldId="4190"/>
            <ac:spMk id="17" creationId="{1BB352DF-856A-84A9-E604-7FC558B11BE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23" v="46873"/>
          <ac:spMkLst>
            <pc:docMk/>
            <pc:sldMk cId="2825979349" sldId="4190"/>
            <ac:spMk id="17" creationId="{EFB91C98-44FC-0A59-1195-4EC09837FA0B}"/>
          </ac:spMkLst>
        </pc:spChg>
        <pc:spChg chg="add del mod ord">
          <ac:chgData name="Ryterski Finn (HNE US-MI-PB-BO)" userId="efff052d-68b9-4e8d-b65b-45dff653056d" providerId="ADAL" clId="{870BDC5B-2E94-425D-B3D4-696163FAE54F}" dt="2025-04-03T06:38:36.873" v="65" actId="478"/>
          <ac:spMkLst>
            <pc:docMk/>
            <pc:sldMk cId="2825979349" sldId="4190"/>
            <ac:spMk id="18" creationId="{46209FDE-FE02-48BB-6F3D-E48118F4054E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24" v="46875"/>
          <ac:spMkLst>
            <pc:docMk/>
            <pc:sldMk cId="2825979349" sldId="4190"/>
            <ac:spMk id="18" creationId="{735BA02D-5A2E-59F5-3D69-EFD818A43D0E}"/>
          </ac:spMkLst>
        </pc:spChg>
        <pc:spChg chg="add del mod ord">
          <ac:chgData name="Ryterski Finn (HNE US-MI-PB-BO)" userId="efff052d-68b9-4e8d-b65b-45dff653056d" providerId="ADAL" clId="{870BDC5B-2E94-425D-B3D4-696163FAE54F}" dt="2025-04-03T06:38:36.873" v="65" actId="478"/>
          <ac:spMkLst>
            <pc:docMk/>
            <pc:sldMk cId="2825979349" sldId="4190"/>
            <ac:spMk id="19" creationId="{35AE9A21-1579-04D5-F491-69D453DC1546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25" v="46877"/>
          <ac:spMkLst>
            <pc:docMk/>
            <pc:sldMk cId="2825979349" sldId="4190"/>
            <ac:spMk id="19" creationId="{C8007A44-EBF8-765E-1A38-530DBD7853EF}"/>
          </ac:spMkLst>
        </pc:spChg>
        <pc:spChg chg="add del mod ord">
          <ac:chgData name="Ryterski Finn (HNE US-MI-PB-BO)" userId="efff052d-68b9-4e8d-b65b-45dff653056d" providerId="ADAL" clId="{870BDC5B-2E94-425D-B3D4-696163FAE54F}" dt="2025-04-03T06:38:46.270" v="67" actId="478"/>
          <ac:spMkLst>
            <pc:docMk/>
            <pc:sldMk cId="2825979349" sldId="4190"/>
            <ac:spMk id="20" creationId="{A0F24DF7-6146-896D-CB3D-246AF3DF7022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26" v="46879"/>
          <ac:spMkLst>
            <pc:docMk/>
            <pc:sldMk cId="2825979349" sldId="4190"/>
            <ac:spMk id="20" creationId="{FF8E8417-6F53-7252-6D72-39E48D203D83}"/>
          </ac:spMkLst>
        </pc:spChg>
        <pc:spChg chg="add del mod ord">
          <ac:chgData name="Ryterski Finn (HNE US-MI-PB-BO)" userId="efff052d-68b9-4e8d-b65b-45dff653056d" providerId="ADAL" clId="{870BDC5B-2E94-425D-B3D4-696163FAE54F}" dt="2025-04-03T06:38:50.020" v="70" actId="700"/>
          <ac:spMkLst>
            <pc:docMk/>
            <pc:sldMk cId="2825979349" sldId="4190"/>
            <ac:spMk id="21" creationId="{D34325F2-6FB2-E30D-F030-7DC9AC19F8D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27" v="46881"/>
          <ac:spMkLst>
            <pc:docMk/>
            <pc:sldMk cId="2825979349" sldId="4190"/>
            <ac:spMk id="21" creationId="{FD1D2779-4A2D-4653-4244-64A2C290C052}"/>
          </ac:spMkLst>
        </pc:spChg>
        <pc:spChg chg="add del mod ord">
          <ac:chgData name="Ryterski Finn (HNE US-MI-PB-BO)" userId="efff052d-68b9-4e8d-b65b-45dff653056d" providerId="ADAL" clId="{870BDC5B-2E94-425D-B3D4-696163FAE54F}" dt="2025-04-03T06:38:46.270" v="67" actId="478"/>
          <ac:spMkLst>
            <pc:docMk/>
            <pc:sldMk cId="2825979349" sldId="4190"/>
            <ac:spMk id="22" creationId="{3EDA29FB-06F2-99B8-A4B3-42B83923F49B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28" v="46883"/>
          <ac:spMkLst>
            <pc:docMk/>
            <pc:sldMk cId="2825979349" sldId="4190"/>
            <ac:spMk id="22" creationId="{90DFD429-CE7E-ED8A-7874-5020AA86111E}"/>
          </ac:spMkLst>
        </pc:spChg>
        <pc:spChg chg="add del mod ord">
          <ac:chgData name="Ryterski Finn (HNE US-MI-PB-BO)" userId="efff052d-68b9-4e8d-b65b-45dff653056d" providerId="ADAL" clId="{870BDC5B-2E94-425D-B3D4-696163FAE54F}" dt="2025-04-03T06:38:56.047" v="72" actId="478"/>
          <ac:spMkLst>
            <pc:docMk/>
            <pc:sldMk cId="2825979349" sldId="4190"/>
            <ac:spMk id="23" creationId="{CAE1F365-CC70-E5CB-BE09-492E291414A9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29" v="46885"/>
          <ac:spMkLst>
            <pc:docMk/>
            <pc:sldMk cId="2825979349" sldId="4190"/>
            <ac:spMk id="23" creationId="{F548AB61-20FB-9EFF-864B-94C8EBD1D785}"/>
          </ac:spMkLst>
        </pc:spChg>
        <pc:spChg chg="add del mod ord">
          <ac:chgData name="Ryterski Finn (HNE US-MI-PB-BO)" userId="efff052d-68b9-4e8d-b65b-45dff653056d" providerId="ADAL" clId="{870BDC5B-2E94-425D-B3D4-696163FAE54F}" dt="2025-04-03T06:38:54.398" v="71" actId="478"/>
          <ac:spMkLst>
            <pc:docMk/>
            <pc:sldMk cId="2825979349" sldId="4190"/>
            <ac:spMk id="24" creationId="{359E96D0-7A20-9F00-0917-186B49CE7A2B}"/>
          </ac:spMkLst>
        </pc:spChg>
        <pc:spChg chg="add del mod ord">
          <ac:chgData name="Ryterski Finn (HNE US-MI-PB-BO)" userId="efff052d-68b9-4e8d-b65b-45dff653056d" providerId="ADAL" clId="{870BDC5B-2E94-425D-B3D4-696163FAE54F}" dt="2025-04-09T07:43:08.030" v="46887"/>
          <ac:spMkLst>
            <pc:docMk/>
            <pc:sldMk cId="2825979349" sldId="4190"/>
            <ac:spMk id="24" creationId="{CC420275-AAF0-4E04-A274-C76D05F49F0C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32" v="46889"/>
          <ac:spMkLst>
            <pc:docMk/>
            <pc:sldMk cId="2825979349" sldId="4190"/>
            <ac:spMk id="25" creationId="{5EBC7F46-6E4B-0F0A-C6F4-A18EE4E935A1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33" v="46891"/>
          <ac:spMkLst>
            <pc:docMk/>
            <pc:sldMk cId="2825979349" sldId="4190"/>
            <ac:spMk id="26" creationId="{8889B785-518A-D837-F754-476ED3286941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34" v="46893"/>
          <ac:spMkLst>
            <pc:docMk/>
            <pc:sldMk cId="2825979349" sldId="4190"/>
            <ac:spMk id="27" creationId="{27C526D9-36D1-A5FD-CA52-3DC6B5F9B402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87" v="47473"/>
          <ac:spMkLst>
            <pc:docMk/>
            <pc:sldMk cId="2825979349" sldId="4190"/>
            <ac:spMk id="29" creationId="{4A75CDBB-F896-9069-24CA-52706342CA7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35" v="46895"/>
          <ac:spMkLst>
            <pc:docMk/>
            <pc:sldMk cId="2825979349" sldId="4190"/>
            <ac:spMk id="30" creationId="{15E5928C-727D-7C2A-4EFB-D1F6A6D8CBEE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6:41:03.736" v="154"/>
          <ac:spMkLst>
            <pc:docMk/>
            <pc:sldMk cId="2825979349" sldId="4190"/>
            <ac:spMk id="30" creationId="{65C19C0B-E094-322B-E64D-BFA97064C0E1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6:41:06.741" v="191"/>
          <ac:spMkLst>
            <pc:docMk/>
            <pc:sldMk cId="2825979349" sldId="4190"/>
            <ac:spMk id="31" creationId="{094AB4CC-EA43-43E6-EAD6-4C972D5E97F8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36" v="46897"/>
          <ac:spMkLst>
            <pc:docMk/>
            <pc:sldMk cId="2825979349" sldId="4190"/>
            <ac:spMk id="31" creationId="{A4DC408F-9AC1-B325-B7F6-14C5C4C76FF6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6:41:07.592" v="221"/>
          <ac:spMkLst>
            <pc:docMk/>
            <pc:sldMk cId="2825979349" sldId="4190"/>
            <ac:spMk id="32" creationId="{AB361785-108A-D85C-0D5A-C0ABA93A1EEF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38" v="46899"/>
          <ac:spMkLst>
            <pc:docMk/>
            <pc:sldMk cId="2825979349" sldId="4190"/>
            <ac:spMk id="32" creationId="{F7D39855-0544-09D1-7E08-8BF8C3A8A516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6:41:09.673" v="249"/>
          <ac:spMkLst>
            <pc:docMk/>
            <pc:sldMk cId="2825979349" sldId="4190"/>
            <ac:spMk id="33" creationId="{7638F831-BAA7-05AE-FEDE-E56CDD42E579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39" v="46901"/>
          <ac:spMkLst>
            <pc:docMk/>
            <pc:sldMk cId="2825979349" sldId="4190"/>
            <ac:spMk id="33" creationId="{CBFA98EB-24C1-3460-18FE-BB398F2DE2D9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40" v="46903"/>
          <ac:spMkLst>
            <pc:docMk/>
            <pc:sldMk cId="2825979349" sldId="4190"/>
            <ac:spMk id="34" creationId="{59591592-D930-418D-EC4C-F92ADF529F15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6:41:11.767" v="277"/>
          <ac:spMkLst>
            <pc:docMk/>
            <pc:sldMk cId="2825979349" sldId="4190"/>
            <ac:spMk id="34" creationId="{5DF3A038-AD55-1FAA-CCC6-82EE9E8F0BFD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6:41:13.032" v="305"/>
          <ac:spMkLst>
            <pc:docMk/>
            <pc:sldMk cId="2825979349" sldId="4190"/>
            <ac:spMk id="35" creationId="{2539019E-24A2-9A39-6FE8-4B641AD02EB5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41" v="46905"/>
          <ac:spMkLst>
            <pc:docMk/>
            <pc:sldMk cId="2825979349" sldId="4190"/>
            <ac:spMk id="35" creationId="{2BDF1641-A6FB-8216-7372-7F968E1599DD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42" v="46907"/>
          <ac:spMkLst>
            <pc:docMk/>
            <pc:sldMk cId="2825979349" sldId="4190"/>
            <ac:spMk id="36" creationId="{7B24F439-60B1-D045-7C55-86B57BDFF244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6:41:14.264" v="333"/>
          <ac:spMkLst>
            <pc:docMk/>
            <pc:sldMk cId="2825979349" sldId="4190"/>
            <ac:spMk id="36" creationId="{88B0262C-66F7-27BF-9133-0A8F97B50D49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6:41:15.048" v="361"/>
          <ac:spMkLst>
            <pc:docMk/>
            <pc:sldMk cId="2825979349" sldId="4190"/>
            <ac:spMk id="37" creationId="{273A59B5-9883-1EB9-A1BC-E40CBA9BF849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43" v="46909"/>
          <ac:spMkLst>
            <pc:docMk/>
            <pc:sldMk cId="2825979349" sldId="4190"/>
            <ac:spMk id="37" creationId="{A02ADFD0-5595-30F2-81D5-B67CA96CE190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44" v="46911"/>
          <ac:spMkLst>
            <pc:docMk/>
            <pc:sldMk cId="2825979349" sldId="4190"/>
            <ac:spMk id="38" creationId="{4E261CDB-7EFA-B2C8-A499-BFD487028FEB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6:41:16.936" v="389"/>
          <ac:spMkLst>
            <pc:docMk/>
            <pc:sldMk cId="2825979349" sldId="4190"/>
            <ac:spMk id="38" creationId="{A354270F-1A4D-45CB-4BE7-18522A4C7D2C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45" v="46913"/>
          <ac:spMkLst>
            <pc:docMk/>
            <pc:sldMk cId="2825979349" sldId="4190"/>
            <ac:spMk id="39" creationId="{9644A63D-470F-8BC3-79CE-BADA058ACA0A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6:41:19.149" v="417"/>
          <ac:spMkLst>
            <pc:docMk/>
            <pc:sldMk cId="2825979349" sldId="4190"/>
            <ac:spMk id="39" creationId="{B3CE42FC-6039-CDF4-BBA0-DAC94F51FA9F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6:41:21.704" v="445"/>
          <ac:spMkLst>
            <pc:docMk/>
            <pc:sldMk cId="2825979349" sldId="4190"/>
            <ac:spMk id="40" creationId="{C305BBC3-05C9-1BA6-A042-7F86371FD0B8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46" v="46915"/>
          <ac:spMkLst>
            <pc:docMk/>
            <pc:sldMk cId="2825979349" sldId="4190"/>
            <ac:spMk id="40" creationId="{DD6BD209-4E02-9E5C-BA55-161FB87FCC4F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6:41:24.140" v="496"/>
          <ac:spMkLst>
            <pc:docMk/>
            <pc:sldMk cId="2825979349" sldId="4190"/>
            <ac:spMk id="41" creationId="{3BB4EA02-A5F2-8285-6C2A-73A0DAC68A67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47" v="46917"/>
          <ac:spMkLst>
            <pc:docMk/>
            <pc:sldMk cId="2825979349" sldId="4190"/>
            <ac:spMk id="41" creationId="{7A88BDBD-D562-020B-204D-3943CA6DA830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6:41:28.187" v="526"/>
          <ac:spMkLst>
            <pc:docMk/>
            <pc:sldMk cId="2825979349" sldId="4190"/>
            <ac:spMk id="42" creationId="{16959A84-2C2B-2527-14AF-2C238C9E0F87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48" v="46919"/>
          <ac:spMkLst>
            <pc:docMk/>
            <pc:sldMk cId="2825979349" sldId="4190"/>
            <ac:spMk id="42" creationId="{2C8DED63-4C55-068C-6E26-351A01EC9144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6:41:31.887" v="554"/>
          <ac:spMkLst>
            <pc:docMk/>
            <pc:sldMk cId="2825979349" sldId="4190"/>
            <ac:spMk id="43" creationId="{42A742D7-DA55-C62F-2CC5-3603546E4D06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49" v="46921"/>
          <ac:spMkLst>
            <pc:docMk/>
            <pc:sldMk cId="2825979349" sldId="4190"/>
            <ac:spMk id="43" creationId="{5AC92FFD-2D45-B435-7671-7D25C59FF891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6:41:43.104" v="582"/>
          <ac:spMkLst>
            <pc:docMk/>
            <pc:sldMk cId="2825979349" sldId="4190"/>
            <ac:spMk id="44" creationId="{63E8C57F-AB73-DC61-BF79-79FD458C44BE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50" v="46923"/>
          <ac:spMkLst>
            <pc:docMk/>
            <pc:sldMk cId="2825979349" sldId="4190"/>
            <ac:spMk id="44" creationId="{6A88007E-AA91-D884-F09D-9FBC4D81165B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6:41:46.486" v="613"/>
          <ac:spMkLst>
            <pc:docMk/>
            <pc:sldMk cId="2825979349" sldId="4190"/>
            <ac:spMk id="45" creationId="{401858D9-2DF0-060F-0D34-A4946424404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51" v="46925"/>
          <ac:spMkLst>
            <pc:docMk/>
            <pc:sldMk cId="2825979349" sldId="4190"/>
            <ac:spMk id="45" creationId="{8A990600-D020-9B45-FBA7-C2918B97FCFD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6:41:47.280" v="661"/>
          <ac:spMkLst>
            <pc:docMk/>
            <pc:sldMk cId="2825979349" sldId="4190"/>
            <ac:spMk id="46" creationId="{1FF21976-B9B8-26E0-FB78-C152ADDD03FE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52" v="46927"/>
          <ac:spMkLst>
            <pc:docMk/>
            <pc:sldMk cId="2825979349" sldId="4190"/>
            <ac:spMk id="46" creationId="{846D3E0A-1C4E-1997-21C2-DCDA763A3C10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6:41:50.719" v="713"/>
          <ac:spMkLst>
            <pc:docMk/>
            <pc:sldMk cId="2825979349" sldId="4190"/>
            <ac:spMk id="47" creationId="{C8739327-0975-60CA-F81C-8BBCE3814EB8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53" v="46929"/>
          <ac:spMkLst>
            <pc:docMk/>
            <pc:sldMk cId="2825979349" sldId="4190"/>
            <ac:spMk id="47" creationId="{D2983B0D-7C4D-E22F-0C81-D71E61C48CE3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54" v="46931"/>
          <ac:spMkLst>
            <pc:docMk/>
            <pc:sldMk cId="2825979349" sldId="4190"/>
            <ac:spMk id="48" creationId="{36EFC145-842B-E119-A444-502077EFA8BD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6:41:53.423" v="741"/>
          <ac:spMkLst>
            <pc:docMk/>
            <pc:sldMk cId="2825979349" sldId="4190"/>
            <ac:spMk id="48" creationId="{C066C57E-FF87-1946-ACD0-4B0206D4E045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6:42:04.955" v="769"/>
          <ac:spMkLst>
            <pc:docMk/>
            <pc:sldMk cId="2825979349" sldId="4190"/>
            <ac:spMk id="49" creationId="{4136BBDE-6852-9636-2901-44B0763F3A9F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55" v="46933"/>
          <ac:spMkLst>
            <pc:docMk/>
            <pc:sldMk cId="2825979349" sldId="4190"/>
            <ac:spMk id="49" creationId="{62AD0FAF-DD18-5F40-E9EC-CF4BC2FF19E2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57" v="46743"/>
          <ac:spMkLst>
            <pc:docMk/>
            <pc:sldMk cId="2825979349" sldId="4190"/>
            <ac:spMk id="50" creationId="{51B59E36-48F5-7C07-0E2A-CA6226FE1D5C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58" v="46745"/>
          <ac:spMkLst>
            <pc:docMk/>
            <pc:sldMk cId="2825979349" sldId="4190"/>
            <ac:spMk id="51" creationId="{6CE6D55E-5BA7-4197-C2F8-80EEA41036B9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59" v="46747"/>
          <ac:spMkLst>
            <pc:docMk/>
            <pc:sldMk cId="2825979349" sldId="4190"/>
            <ac:spMk id="52" creationId="{EA34BEBB-E0B0-5EA7-231E-09EE66BD2DDA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60" v="46749"/>
          <ac:spMkLst>
            <pc:docMk/>
            <pc:sldMk cId="2825979349" sldId="4190"/>
            <ac:spMk id="53" creationId="{8B930ADB-E1A1-0A89-0D16-683916DEB981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61" v="46751"/>
          <ac:spMkLst>
            <pc:docMk/>
            <pc:sldMk cId="2825979349" sldId="4190"/>
            <ac:spMk id="54" creationId="{29D11AB0-D0B1-2402-F2C1-6130B765E4A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63" v="46753"/>
          <ac:spMkLst>
            <pc:docMk/>
            <pc:sldMk cId="2825979349" sldId="4190"/>
            <ac:spMk id="55" creationId="{8EE4CADB-D938-2D56-5261-906093AB3F62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64" v="46755"/>
          <ac:spMkLst>
            <pc:docMk/>
            <pc:sldMk cId="2825979349" sldId="4190"/>
            <ac:spMk id="56" creationId="{9352DE6E-A437-F773-2808-A00130F1E37D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65" v="46757"/>
          <ac:spMkLst>
            <pc:docMk/>
            <pc:sldMk cId="2825979349" sldId="4190"/>
            <ac:spMk id="57" creationId="{E2A0AB03-AAE4-E150-EEBD-998269E1A645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65" v="46759"/>
          <ac:spMkLst>
            <pc:docMk/>
            <pc:sldMk cId="2825979349" sldId="4190"/>
            <ac:spMk id="58" creationId="{466818ED-7326-655E-0EE3-EAF1966062E1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66" v="46761"/>
          <ac:spMkLst>
            <pc:docMk/>
            <pc:sldMk cId="2825979349" sldId="4190"/>
            <ac:spMk id="59" creationId="{55BC8ACC-A65C-E373-2DFE-C4CCDC4A9779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67" v="46763"/>
          <ac:spMkLst>
            <pc:docMk/>
            <pc:sldMk cId="2825979349" sldId="4190"/>
            <ac:spMk id="60" creationId="{C6AC00AE-15AF-B362-7622-91B6F9E71E92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68" v="46765"/>
          <ac:spMkLst>
            <pc:docMk/>
            <pc:sldMk cId="2825979349" sldId="4190"/>
            <ac:spMk id="61" creationId="{540DC527-6F2A-AB45-114A-515F69655AC3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70" v="46767"/>
          <ac:spMkLst>
            <pc:docMk/>
            <pc:sldMk cId="2825979349" sldId="4190"/>
            <ac:spMk id="62" creationId="{9EB57B86-9710-45B3-724C-C2817113236B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71" v="46769"/>
          <ac:spMkLst>
            <pc:docMk/>
            <pc:sldMk cId="2825979349" sldId="4190"/>
            <ac:spMk id="63" creationId="{7CA5382B-1A8E-7B98-56B0-3D9D51B617EA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72" v="46771"/>
          <ac:spMkLst>
            <pc:docMk/>
            <pc:sldMk cId="2825979349" sldId="4190"/>
            <ac:spMk id="64" creationId="{9F5CF1D2-180F-3D52-92E3-05C60039183A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73" v="46773"/>
          <ac:spMkLst>
            <pc:docMk/>
            <pc:sldMk cId="2825979349" sldId="4190"/>
            <ac:spMk id="65" creationId="{B457DFDF-19B4-789E-66DB-7364B08B6E92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74" v="46775"/>
          <ac:spMkLst>
            <pc:docMk/>
            <pc:sldMk cId="2825979349" sldId="4190"/>
            <ac:spMk id="66" creationId="{876BA183-C033-A3E6-4DCD-32C55A16D44B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75" v="46777"/>
          <ac:spMkLst>
            <pc:docMk/>
            <pc:sldMk cId="2825979349" sldId="4190"/>
            <ac:spMk id="67" creationId="{07A7E753-D6D4-6296-DDE1-4AE929B05C21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76" v="46779"/>
          <ac:spMkLst>
            <pc:docMk/>
            <pc:sldMk cId="2825979349" sldId="4190"/>
            <ac:spMk id="68" creationId="{660C3FD8-A1CB-F22A-205C-599D3D2BC77A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77" v="46781"/>
          <ac:spMkLst>
            <pc:docMk/>
            <pc:sldMk cId="2825979349" sldId="4190"/>
            <ac:spMk id="69" creationId="{10296029-4B4B-3505-7240-1EB0547FBB83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78" v="46783"/>
          <ac:spMkLst>
            <pc:docMk/>
            <pc:sldMk cId="2825979349" sldId="4190"/>
            <ac:spMk id="70" creationId="{2ADFF6A0-72DD-D43E-42B8-5FED74C3366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79" v="46785"/>
          <ac:spMkLst>
            <pc:docMk/>
            <pc:sldMk cId="2825979349" sldId="4190"/>
            <ac:spMk id="71" creationId="{97056F91-2325-3D56-8C69-2977A9818E3D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80" v="46787"/>
          <ac:spMkLst>
            <pc:docMk/>
            <pc:sldMk cId="2825979349" sldId="4190"/>
            <ac:spMk id="72" creationId="{01B71D3E-4BC0-CF6F-82FE-C5BC82FE4C0D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81" v="46789"/>
          <ac:spMkLst>
            <pc:docMk/>
            <pc:sldMk cId="2825979349" sldId="4190"/>
            <ac:spMk id="73" creationId="{F9D15380-8709-E78C-D25A-238FF3A0DA1F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82" v="46791"/>
          <ac:spMkLst>
            <pc:docMk/>
            <pc:sldMk cId="2825979349" sldId="4190"/>
            <ac:spMk id="74" creationId="{A1E21D3E-C9B0-8B70-4370-941CBEF2170B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56" v="46935"/>
          <ac:spMkLst>
            <pc:docMk/>
            <pc:sldMk cId="2825979349" sldId="4190"/>
            <ac:spMk id="75" creationId="{032A9D6A-E180-4ED1-999E-0F59B15D89E6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83" v="46793"/>
          <ac:spMkLst>
            <pc:docMk/>
            <pc:sldMk cId="2825979349" sldId="4190"/>
            <ac:spMk id="76" creationId="{103887A8-351F-2F3B-C1F0-B2FA1B909377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84" v="46795"/>
          <ac:spMkLst>
            <pc:docMk/>
            <pc:sldMk cId="2825979349" sldId="4190"/>
            <ac:spMk id="77" creationId="{66BA1CCC-7891-C893-AA4D-9EB545D6FC6C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85" v="46797"/>
          <ac:spMkLst>
            <pc:docMk/>
            <pc:sldMk cId="2825979349" sldId="4190"/>
            <ac:spMk id="78" creationId="{4405A146-25C8-E2AC-E687-5A1E1C4C37C9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86" v="46799"/>
          <ac:spMkLst>
            <pc:docMk/>
            <pc:sldMk cId="2825979349" sldId="4190"/>
            <ac:spMk id="79" creationId="{FE2CCBFB-154E-9BA0-5BC6-05A7394B8355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87" v="46801"/>
          <ac:spMkLst>
            <pc:docMk/>
            <pc:sldMk cId="2825979349" sldId="4190"/>
            <ac:spMk id="80" creationId="{22BFE9AA-AF5C-5C7B-7602-CEB69CF6FB75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88" v="46803"/>
          <ac:spMkLst>
            <pc:docMk/>
            <pc:sldMk cId="2825979349" sldId="4190"/>
            <ac:spMk id="81" creationId="{88579858-372B-82C6-23C7-8699D90BB95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89" v="46805"/>
          <ac:spMkLst>
            <pc:docMk/>
            <pc:sldMk cId="2825979349" sldId="4190"/>
            <ac:spMk id="82" creationId="{E4E908CB-59BB-E6AE-2E1F-9AC5E809FBC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90" v="46807"/>
          <ac:spMkLst>
            <pc:docMk/>
            <pc:sldMk cId="2825979349" sldId="4190"/>
            <ac:spMk id="83" creationId="{C52CD2C4-0FA0-3438-3605-B7F5AA685715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91" v="46809"/>
          <ac:spMkLst>
            <pc:docMk/>
            <pc:sldMk cId="2825979349" sldId="4190"/>
            <ac:spMk id="84" creationId="{F60C2C1B-FE3E-916F-3653-87F64B8F8998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92" v="46811"/>
          <ac:spMkLst>
            <pc:docMk/>
            <pc:sldMk cId="2825979349" sldId="4190"/>
            <ac:spMk id="85" creationId="{C6E19A81-850B-9D11-D3CE-DCEDF7BD76D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93" v="46813"/>
          <ac:spMkLst>
            <pc:docMk/>
            <pc:sldMk cId="2825979349" sldId="4190"/>
            <ac:spMk id="86" creationId="{98FFC3B7-66E7-831B-D34B-4B4734B0B173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94" v="46815"/>
          <ac:spMkLst>
            <pc:docMk/>
            <pc:sldMk cId="2825979349" sldId="4190"/>
            <ac:spMk id="87" creationId="{7C8B9590-1939-3D89-ED68-A30687087EF1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95" v="46817"/>
          <ac:spMkLst>
            <pc:docMk/>
            <pc:sldMk cId="2825979349" sldId="4190"/>
            <ac:spMk id="88" creationId="{53A1F5D9-8DFC-DFCB-0BB0-8FCE5BC89C27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96" v="46819"/>
          <ac:spMkLst>
            <pc:docMk/>
            <pc:sldMk cId="2825979349" sldId="4190"/>
            <ac:spMk id="89" creationId="{81AB261F-820B-BF2F-79A2-9A0B4E233EA8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97" v="46821"/>
          <ac:spMkLst>
            <pc:docMk/>
            <pc:sldMk cId="2825979349" sldId="4190"/>
            <ac:spMk id="90" creationId="{E58B340F-BD7D-FE17-83AE-6F1D1ACA3536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98" v="46823"/>
          <ac:spMkLst>
            <pc:docMk/>
            <pc:sldMk cId="2825979349" sldId="4190"/>
            <ac:spMk id="91" creationId="{026DC1EA-8382-D4D6-FFBF-F6CD864DFC3C}"/>
          </ac:spMkLst>
        </pc:spChg>
        <pc:spChg chg="add mod ord">
          <ac:chgData name="Ryterski Finn (HNE US-MI-PB-BO)" userId="efff052d-68b9-4e8d-b65b-45dff653056d" providerId="ADAL" clId="{870BDC5B-2E94-425D-B3D4-696163FAE54F}" dt="2025-04-09T07:43:07.999" v="46825"/>
          <ac:spMkLst>
            <pc:docMk/>
            <pc:sldMk cId="2825979349" sldId="4190"/>
            <ac:spMk id="92" creationId="{759D0926-0599-F2CF-E883-9135E2DFC9AE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" v="46827"/>
          <ac:spMkLst>
            <pc:docMk/>
            <pc:sldMk cId="2825979349" sldId="4190"/>
            <ac:spMk id="93" creationId="{09D950C9-6C80-01DE-F507-76164BB3601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01" v="46829"/>
          <ac:spMkLst>
            <pc:docMk/>
            <pc:sldMk cId="2825979349" sldId="4190"/>
            <ac:spMk id="94" creationId="{DB86AA16-7F18-3280-BFB9-0D304875E38B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02" v="46831"/>
          <ac:spMkLst>
            <pc:docMk/>
            <pc:sldMk cId="2825979349" sldId="4190"/>
            <ac:spMk id="95" creationId="{5EFA27A9-7034-5075-B3D3-53748BBF5A83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03" v="46833"/>
          <ac:spMkLst>
            <pc:docMk/>
            <pc:sldMk cId="2825979349" sldId="4190"/>
            <ac:spMk id="96" creationId="{06A29BA3-F0D3-A4FC-11EC-FACE801D6848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04" v="46835"/>
          <ac:spMkLst>
            <pc:docMk/>
            <pc:sldMk cId="2825979349" sldId="4190"/>
            <ac:spMk id="97" creationId="{2413BFB6-24E6-528B-5FC0-D47F5BFEFC0A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05" v="46837"/>
          <ac:spMkLst>
            <pc:docMk/>
            <pc:sldMk cId="2825979349" sldId="4190"/>
            <ac:spMk id="98" creationId="{2E9D75CD-3275-FF0E-C49B-E18CF58D10E0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06" v="46839"/>
          <ac:spMkLst>
            <pc:docMk/>
            <pc:sldMk cId="2825979349" sldId="4190"/>
            <ac:spMk id="99" creationId="{91A81B67-6DE3-E79D-8FCF-D94D95EE4683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08" v="46841"/>
          <ac:spMkLst>
            <pc:docMk/>
            <pc:sldMk cId="2825979349" sldId="4190"/>
            <ac:spMk id="100" creationId="{80FCFD35-E2A9-BA3C-F87F-D80C5AAB74C8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09" v="46843"/>
          <ac:spMkLst>
            <pc:docMk/>
            <pc:sldMk cId="2825979349" sldId="4190"/>
            <ac:spMk id="101" creationId="{DEE77530-06EB-4E60-4D24-0D96D630ACC6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10" v="46845"/>
          <ac:spMkLst>
            <pc:docMk/>
            <pc:sldMk cId="2825979349" sldId="4190"/>
            <ac:spMk id="102" creationId="{F046723F-5885-93AB-9054-557181DC8868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11" v="46847"/>
          <ac:spMkLst>
            <pc:docMk/>
            <pc:sldMk cId="2825979349" sldId="4190"/>
            <ac:spMk id="103" creationId="{C5A8CCA0-892B-70CA-7D48-87377D5AABBF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12" v="46849"/>
          <ac:spMkLst>
            <pc:docMk/>
            <pc:sldMk cId="2825979349" sldId="4190"/>
            <ac:spMk id="104" creationId="{A5B72330-DCAC-424D-DF2D-F3E8E8806932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12" v="46851"/>
          <ac:spMkLst>
            <pc:docMk/>
            <pc:sldMk cId="2825979349" sldId="4190"/>
            <ac:spMk id="105" creationId="{E745C798-23C7-21FD-FE61-1EC53D20EBEA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13" v="46853"/>
          <ac:spMkLst>
            <pc:docMk/>
            <pc:sldMk cId="2825979349" sldId="4190"/>
            <ac:spMk id="106" creationId="{B0C5BABF-725B-7372-D917-ADB94D8E00F7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57" v="46937"/>
          <ac:spMkLst>
            <pc:docMk/>
            <pc:sldMk cId="2825979349" sldId="4190"/>
            <ac:spMk id="107" creationId="{3B63A3F1-AF51-6762-8774-C01F6FB61FD0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58" v="46939"/>
          <ac:spMkLst>
            <pc:docMk/>
            <pc:sldMk cId="2825979349" sldId="4190"/>
            <ac:spMk id="108" creationId="{7E149CF3-7303-7D01-C456-EA3A3AEAD1B5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59" v="46941"/>
          <ac:spMkLst>
            <pc:docMk/>
            <pc:sldMk cId="2825979349" sldId="4190"/>
            <ac:spMk id="109" creationId="{FE816C64-F274-DB0B-4103-8C1FF9AAD00B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60" v="46943"/>
          <ac:spMkLst>
            <pc:docMk/>
            <pc:sldMk cId="2825979349" sldId="4190"/>
            <ac:spMk id="110" creationId="{8A7F5DCF-603D-B467-6213-871C0BF1CCFC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61" v="46945"/>
          <ac:spMkLst>
            <pc:docMk/>
            <pc:sldMk cId="2825979349" sldId="4190"/>
            <ac:spMk id="111" creationId="{E7FC9477-8E7C-0439-B33E-53F026064CAA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62" v="46947"/>
          <ac:spMkLst>
            <pc:docMk/>
            <pc:sldMk cId="2825979349" sldId="4190"/>
            <ac:spMk id="112" creationId="{C47A87C1-B0D5-6C57-EC19-D6467338BB23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63" v="46949"/>
          <ac:spMkLst>
            <pc:docMk/>
            <pc:sldMk cId="2825979349" sldId="4190"/>
            <ac:spMk id="113" creationId="{0E61598F-CB84-BE25-EF3C-4C7986482E7F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63" v="46951"/>
          <ac:spMkLst>
            <pc:docMk/>
            <pc:sldMk cId="2825979349" sldId="4190"/>
            <ac:spMk id="114" creationId="{5FB099DA-F335-9D3F-AFD3-8E4B3D590E5C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71" v="47287"/>
          <ac:spMkLst>
            <pc:docMk/>
            <pc:sldMk cId="2825979349" sldId="4190"/>
            <ac:spMk id="115" creationId="{20568A31-BE6D-F5DD-B7B2-EB2D4C982F19}"/>
          </ac:spMkLst>
        </pc:spChg>
        <pc:spChg chg="add del mod">
          <ac:chgData name="Ryterski Finn (HNE US-MI-PB-BO)" userId="efff052d-68b9-4e8d-b65b-45dff653056d" providerId="ADAL" clId="{870BDC5B-2E94-425D-B3D4-696163FAE54F}" dt="2025-04-07T09:02:15.313" v="31866" actId="478"/>
          <ac:spMkLst>
            <pc:docMk/>
            <pc:sldMk cId="2825979349" sldId="4190"/>
            <ac:spMk id="115" creationId="{94788305-7683-9EDD-7BE7-6DF6B8F7DEF5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64" v="46953"/>
          <ac:spMkLst>
            <pc:docMk/>
            <pc:sldMk cId="2825979349" sldId="4190"/>
            <ac:spMk id="116" creationId="{425E404D-F78F-035F-DD90-0448A4924EF5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65" v="46955"/>
          <ac:spMkLst>
            <pc:docMk/>
            <pc:sldMk cId="2825979349" sldId="4190"/>
            <ac:spMk id="117" creationId="{8E6EA0D7-0491-BACF-E70A-B087836EEBF7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67" v="46957"/>
          <ac:spMkLst>
            <pc:docMk/>
            <pc:sldMk cId="2825979349" sldId="4190"/>
            <ac:spMk id="118" creationId="{7F14B891-39A8-0566-64A4-27B8560D3643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68" v="46959"/>
          <ac:spMkLst>
            <pc:docMk/>
            <pc:sldMk cId="2825979349" sldId="4190"/>
            <ac:spMk id="119" creationId="{F9CB3BE4-21F2-A073-9D5C-BE66AE28FBD2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69" v="46961"/>
          <ac:spMkLst>
            <pc:docMk/>
            <pc:sldMk cId="2825979349" sldId="4190"/>
            <ac:spMk id="120" creationId="{0D236229-BBEB-5067-28BE-1D762EC0360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70" v="46963"/>
          <ac:spMkLst>
            <pc:docMk/>
            <pc:sldMk cId="2825979349" sldId="4190"/>
            <ac:spMk id="121" creationId="{E96CBABB-5EEE-EF59-86F2-499FFCB48CF7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71" v="46965"/>
          <ac:spMkLst>
            <pc:docMk/>
            <pc:sldMk cId="2825979349" sldId="4190"/>
            <ac:spMk id="122" creationId="{17F16F3E-7ADB-B82D-1A37-0EE5F594F88F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72" v="46967"/>
          <ac:spMkLst>
            <pc:docMk/>
            <pc:sldMk cId="2825979349" sldId="4190"/>
            <ac:spMk id="123" creationId="{22A91FE1-1B57-9063-F245-26F9ACACB63C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72" v="46969"/>
          <ac:spMkLst>
            <pc:docMk/>
            <pc:sldMk cId="2825979349" sldId="4190"/>
            <ac:spMk id="124" creationId="{89588243-7E2E-4ACA-C495-33A477E6CD73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73" v="46971"/>
          <ac:spMkLst>
            <pc:docMk/>
            <pc:sldMk cId="2825979349" sldId="4190"/>
            <ac:spMk id="125" creationId="{2CC712A2-4434-DE41-366F-DA8BAC847CEB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74" v="46973"/>
          <ac:spMkLst>
            <pc:docMk/>
            <pc:sldMk cId="2825979349" sldId="4190"/>
            <ac:spMk id="126" creationId="{F44B6A95-8B30-FB2E-8316-D260BC29483B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75" v="46975"/>
          <ac:spMkLst>
            <pc:docMk/>
            <pc:sldMk cId="2825979349" sldId="4190"/>
            <ac:spMk id="127" creationId="{A10E6C85-EC9C-C802-C447-E55737126F81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76" v="46977"/>
          <ac:spMkLst>
            <pc:docMk/>
            <pc:sldMk cId="2825979349" sldId="4190"/>
            <ac:spMk id="128" creationId="{B0BA08DB-154C-465A-CF15-609D6B51043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77" v="46979"/>
          <ac:spMkLst>
            <pc:docMk/>
            <pc:sldMk cId="2825979349" sldId="4190"/>
            <ac:spMk id="129" creationId="{0DBA8844-F5EC-60B5-73D0-9F0D4F84CB0B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78" v="46981"/>
          <ac:spMkLst>
            <pc:docMk/>
            <pc:sldMk cId="2825979349" sldId="4190"/>
            <ac:spMk id="130" creationId="{9D522369-88EA-8531-305F-4FC44B68277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79" v="46983"/>
          <ac:spMkLst>
            <pc:docMk/>
            <pc:sldMk cId="2825979349" sldId="4190"/>
            <ac:spMk id="131" creationId="{66C8C99E-3EF3-6D70-7112-0590E32EA18A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80" v="46985"/>
          <ac:spMkLst>
            <pc:docMk/>
            <pc:sldMk cId="2825979349" sldId="4190"/>
            <ac:spMk id="132" creationId="{565815D3-A216-D4C7-B2E4-0EEDFF1B4447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81" v="46987"/>
          <ac:spMkLst>
            <pc:docMk/>
            <pc:sldMk cId="2825979349" sldId="4190"/>
            <ac:spMk id="133" creationId="{56871596-16FC-9188-CDFB-8519097CD567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82" v="46989"/>
          <ac:spMkLst>
            <pc:docMk/>
            <pc:sldMk cId="2825979349" sldId="4190"/>
            <ac:spMk id="134" creationId="{D850F7B3-28D0-51B9-EB5C-D8BD62951C8C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84" v="46991"/>
          <ac:spMkLst>
            <pc:docMk/>
            <pc:sldMk cId="2825979349" sldId="4190"/>
            <ac:spMk id="135" creationId="{AD3B8B44-793B-04F6-0BF7-A081F23986D2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85" v="46993"/>
          <ac:spMkLst>
            <pc:docMk/>
            <pc:sldMk cId="2825979349" sldId="4190"/>
            <ac:spMk id="136" creationId="{87A39706-F3FD-BBC7-7120-F3BAF0E5B869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86" v="46995"/>
          <ac:spMkLst>
            <pc:docMk/>
            <pc:sldMk cId="2825979349" sldId="4190"/>
            <ac:spMk id="137" creationId="{77AF7D15-354E-D93B-C54C-C69D2A07C0D2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86" v="46997"/>
          <ac:spMkLst>
            <pc:docMk/>
            <pc:sldMk cId="2825979349" sldId="4190"/>
            <ac:spMk id="138" creationId="{8ADC5194-2E3B-A9FE-61CF-2C588609DCC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87" v="46999"/>
          <ac:spMkLst>
            <pc:docMk/>
            <pc:sldMk cId="2825979349" sldId="4190"/>
            <ac:spMk id="139" creationId="{D5AD97E4-EA13-6048-686F-36604A520C8F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88" v="47001"/>
          <ac:spMkLst>
            <pc:docMk/>
            <pc:sldMk cId="2825979349" sldId="4190"/>
            <ac:spMk id="140" creationId="{8E2E2590-BD11-D1C3-7095-70C5ECB46CB2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89" v="47003"/>
          <ac:spMkLst>
            <pc:docMk/>
            <pc:sldMk cId="2825979349" sldId="4190"/>
            <ac:spMk id="141" creationId="{69838C86-1C05-3B75-4437-3929432B104B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90" v="47005"/>
          <ac:spMkLst>
            <pc:docMk/>
            <pc:sldMk cId="2825979349" sldId="4190"/>
            <ac:spMk id="142" creationId="{6ABEA7C9-3334-7BB7-C0C4-91578AB7DDB1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91" v="47007"/>
          <ac:spMkLst>
            <pc:docMk/>
            <pc:sldMk cId="2825979349" sldId="4190"/>
            <ac:spMk id="143" creationId="{BE1CEB15-3BE4-CBB2-419A-F2857FF45B7C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92" v="47009"/>
          <ac:spMkLst>
            <pc:docMk/>
            <pc:sldMk cId="2825979349" sldId="4190"/>
            <ac:spMk id="144" creationId="{7D1186E6-A6F9-9A36-5475-A74879F49E38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93" v="47011"/>
          <ac:spMkLst>
            <pc:docMk/>
            <pc:sldMk cId="2825979349" sldId="4190"/>
            <ac:spMk id="145" creationId="{B2E63ED0-B109-9E2B-5D2A-9536C3239F5D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94" v="47013"/>
          <ac:spMkLst>
            <pc:docMk/>
            <pc:sldMk cId="2825979349" sldId="4190"/>
            <ac:spMk id="146" creationId="{8EB3C9F2-0CB1-F254-B8F4-8FACF1972162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95" v="47015"/>
          <ac:spMkLst>
            <pc:docMk/>
            <pc:sldMk cId="2825979349" sldId="4190"/>
            <ac:spMk id="147" creationId="{8588448E-DCEC-C3E4-54E8-29E6ED1DE945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96" v="47017"/>
          <ac:spMkLst>
            <pc:docMk/>
            <pc:sldMk cId="2825979349" sldId="4190"/>
            <ac:spMk id="148" creationId="{DA97AE49-82EC-D4FD-AEE9-0B18066D69B1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97" v="47019"/>
          <ac:spMkLst>
            <pc:docMk/>
            <pc:sldMk cId="2825979349" sldId="4190"/>
            <ac:spMk id="149" creationId="{8D2BE647-05D4-D3D1-F91A-67DB1E12612F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098" v="47021"/>
          <ac:spMkLst>
            <pc:docMk/>
            <pc:sldMk cId="2825979349" sldId="4190"/>
            <ac:spMk id="150" creationId="{12D41EC8-A4B3-31AA-74C3-EB55E6BFA063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00" v="47023"/>
          <ac:spMkLst>
            <pc:docMk/>
            <pc:sldMk cId="2825979349" sldId="4190"/>
            <ac:spMk id="151" creationId="{B72E44F5-9233-C6C1-F7C7-30BAE971F92B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01" v="47025"/>
          <ac:spMkLst>
            <pc:docMk/>
            <pc:sldMk cId="2825979349" sldId="4190"/>
            <ac:spMk id="152" creationId="{52E36E59-DB8B-3F81-82C9-1E7D52B1BDCE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02" v="47027"/>
          <ac:spMkLst>
            <pc:docMk/>
            <pc:sldMk cId="2825979349" sldId="4190"/>
            <ac:spMk id="153" creationId="{F4F40D66-86F5-3991-E66C-731723C1E5D8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03" v="47029"/>
          <ac:spMkLst>
            <pc:docMk/>
            <pc:sldMk cId="2825979349" sldId="4190"/>
            <ac:spMk id="154" creationId="{0FBA133D-BD6C-08E6-02DE-013E4DE3A742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05" v="47031"/>
          <ac:spMkLst>
            <pc:docMk/>
            <pc:sldMk cId="2825979349" sldId="4190"/>
            <ac:spMk id="155" creationId="{940986C8-69BE-BADF-BD76-541BDD7260CD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06" v="47033"/>
          <ac:spMkLst>
            <pc:docMk/>
            <pc:sldMk cId="2825979349" sldId="4190"/>
            <ac:spMk id="156" creationId="{74E20DF3-A05A-6D79-7CD2-ECA471CF152C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72" v="47289"/>
          <ac:spMkLst>
            <pc:docMk/>
            <pc:sldMk cId="2825979349" sldId="4190"/>
            <ac:spMk id="157" creationId="{B0976E63-D5FA-1683-B6EC-3A9852B77F89}"/>
          </ac:spMkLst>
        </pc:spChg>
        <pc:spChg chg="add del mod">
          <ac:chgData name="Ryterski Finn (HNE US-MI-PB-BO)" userId="efff052d-68b9-4e8d-b65b-45dff653056d" providerId="ADAL" clId="{870BDC5B-2E94-425D-B3D4-696163FAE54F}" dt="2025-04-07T09:02:14.015" v="31865" actId="478"/>
          <ac:spMkLst>
            <pc:docMk/>
            <pc:sldMk cId="2825979349" sldId="4190"/>
            <ac:spMk id="157" creationId="{FD2C6AE6-48A5-0B7A-72EC-49DF9651A6A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07" v="47035"/>
          <ac:spMkLst>
            <pc:docMk/>
            <pc:sldMk cId="2825979349" sldId="4190"/>
            <ac:spMk id="158" creationId="{E99893D3-9C4A-61F4-DA63-BE1F4032D790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09" v="47037"/>
          <ac:spMkLst>
            <pc:docMk/>
            <pc:sldMk cId="2825979349" sldId="4190"/>
            <ac:spMk id="159" creationId="{D37AA6C1-F1A6-1EE8-777C-B274AE0049FE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10" v="47039"/>
          <ac:spMkLst>
            <pc:docMk/>
            <pc:sldMk cId="2825979349" sldId="4190"/>
            <ac:spMk id="160" creationId="{D1C64807-3F40-E207-2C31-6F8D4733EB7D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11" v="47041"/>
          <ac:spMkLst>
            <pc:docMk/>
            <pc:sldMk cId="2825979349" sldId="4190"/>
            <ac:spMk id="161" creationId="{32F528E9-02CC-EACB-A2ED-E75ECCC951B8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12" v="47043"/>
          <ac:spMkLst>
            <pc:docMk/>
            <pc:sldMk cId="2825979349" sldId="4190"/>
            <ac:spMk id="162" creationId="{B0D85A4D-9BBB-B9F1-0AE2-4EC1FCAA1303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13" v="47045"/>
          <ac:spMkLst>
            <pc:docMk/>
            <pc:sldMk cId="2825979349" sldId="4190"/>
            <ac:spMk id="163" creationId="{A21B62BA-100B-E45C-7316-5FB91ACF1443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15" v="47047"/>
          <ac:spMkLst>
            <pc:docMk/>
            <pc:sldMk cId="2825979349" sldId="4190"/>
            <ac:spMk id="164" creationId="{AF287B8F-1CD1-AD76-244A-BEF50745A315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16" v="47049"/>
          <ac:spMkLst>
            <pc:docMk/>
            <pc:sldMk cId="2825979349" sldId="4190"/>
            <ac:spMk id="165" creationId="{F7A8FBE7-11CF-9EDE-8C6A-94B0E9AE4CA1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17" v="47051"/>
          <ac:spMkLst>
            <pc:docMk/>
            <pc:sldMk cId="2825979349" sldId="4190"/>
            <ac:spMk id="166" creationId="{EED664E6-BF09-2AFA-7F4B-8E306F48F25B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18" v="47053"/>
          <ac:spMkLst>
            <pc:docMk/>
            <pc:sldMk cId="2825979349" sldId="4190"/>
            <ac:spMk id="167" creationId="{19C59BAB-C36B-0B69-1161-4C74984D239A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19" v="47055"/>
          <ac:spMkLst>
            <pc:docMk/>
            <pc:sldMk cId="2825979349" sldId="4190"/>
            <ac:spMk id="168" creationId="{B695633C-4E63-EBB5-DEA1-BFCCA9C49D01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21" v="47057"/>
          <ac:spMkLst>
            <pc:docMk/>
            <pc:sldMk cId="2825979349" sldId="4190"/>
            <ac:spMk id="169" creationId="{EBCA3DE5-5201-216E-1509-37384AAE681C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22" v="47059"/>
          <ac:spMkLst>
            <pc:docMk/>
            <pc:sldMk cId="2825979349" sldId="4190"/>
            <ac:spMk id="170" creationId="{870357D5-5BDA-6F3C-FDBA-82DE8E354EF6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23" v="47061"/>
          <ac:spMkLst>
            <pc:docMk/>
            <pc:sldMk cId="2825979349" sldId="4190"/>
            <ac:spMk id="171" creationId="{61EFF87A-2771-15A3-B026-86FBC4E53BDC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24" v="47063"/>
          <ac:spMkLst>
            <pc:docMk/>
            <pc:sldMk cId="2825979349" sldId="4190"/>
            <ac:spMk id="172" creationId="{A0E50F63-645E-32F3-5FA3-F4632930D2F1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25" v="47065"/>
          <ac:spMkLst>
            <pc:docMk/>
            <pc:sldMk cId="2825979349" sldId="4190"/>
            <ac:spMk id="173" creationId="{C085AB23-62BF-CD10-E96F-1FCEE11EC01F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26" v="47067"/>
          <ac:spMkLst>
            <pc:docMk/>
            <pc:sldMk cId="2825979349" sldId="4190"/>
            <ac:spMk id="174" creationId="{35A4DE7F-1C35-A895-2A1F-56095230A341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28" v="47069"/>
          <ac:spMkLst>
            <pc:docMk/>
            <pc:sldMk cId="2825979349" sldId="4190"/>
            <ac:spMk id="175" creationId="{6ECAE47C-C07C-0B9D-5EE3-3B6E99A4E82F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74" v="47291"/>
          <ac:spMkLst>
            <pc:docMk/>
            <pc:sldMk cId="2825979349" sldId="4190"/>
            <ac:spMk id="176" creationId="{7ED0F3A4-74AA-EB27-6399-22A42621C90B}"/>
          </ac:spMkLst>
        </pc:spChg>
        <pc:spChg chg="add del mod">
          <ac:chgData name="Ryterski Finn (HNE US-MI-PB-BO)" userId="efff052d-68b9-4e8d-b65b-45dff653056d" providerId="ADAL" clId="{870BDC5B-2E94-425D-B3D4-696163FAE54F}" dt="2025-04-07T09:02:16.895" v="31867" actId="478"/>
          <ac:spMkLst>
            <pc:docMk/>
            <pc:sldMk cId="2825979349" sldId="4190"/>
            <ac:spMk id="176" creationId="{DBFC1ABE-0EAD-F27D-3894-3A7F0C121EEA}"/>
          </ac:spMkLst>
        </pc:spChg>
        <pc:spChg chg="add del mod">
          <ac:chgData name="Ryterski Finn (HNE US-MI-PB-BO)" userId="efff052d-68b9-4e8d-b65b-45dff653056d" providerId="ADAL" clId="{870BDC5B-2E94-425D-B3D4-696163FAE54F}" dt="2025-04-07T09:02:25.853" v="31875" actId="478"/>
          <ac:spMkLst>
            <pc:docMk/>
            <pc:sldMk cId="2825979349" sldId="4190"/>
            <ac:spMk id="177" creationId="{96A4E599-CCC9-E472-E4C7-6AD1AB2FF48E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76" v="47293"/>
          <ac:spMkLst>
            <pc:docMk/>
            <pc:sldMk cId="2825979349" sldId="4190"/>
            <ac:spMk id="177" creationId="{D4A6A70F-81FB-FD6F-C627-A999EB65E473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29" v="47071"/>
          <ac:spMkLst>
            <pc:docMk/>
            <pc:sldMk cId="2825979349" sldId="4190"/>
            <ac:spMk id="178" creationId="{C9DB7B33-D0C6-54B7-251C-03DA5B022A9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30" v="47073"/>
          <ac:spMkLst>
            <pc:docMk/>
            <pc:sldMk cId="2825979349" sldId="4190"/>
            <ac:spMk id="179" creationId="{62AB63B4-CB02-9BB1-C706-164C7C5A13B6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31" v="47075"/>
          <ac:spMkLst>
            <pc:docMk/>
            <pc:sldMk cId="2825979349" sldId="4190"/>
            <ac:spMk id="180" creationId="{D557769E-6487-A1EF-6BF7-5DC1AD16EE63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32" v="47077"/>
          <ac:spMkLst>
            <pc:docMk/>
            <pc:sldMk cId="2825979349" sldId="4190"/>
            <ac:spMk id="181" creationId="{7163EFB2-B433-3BB7-34D2-634BBDA26B6E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34" v="47079"/>
          <ac:spMkLst>
            <pc:docMk/>
            <pc:sldMk cId="2825979349" sldId="4190"/>
            <ac:spMk id="182" creationId="{A7B32D1E-F944-6AC4-AF04-59AA487A3479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35" v="47081"/>
          <ac:spMkLst>
            <pc:docMk/>
            <pc:sldMk cId="2825979349" sldId="4190"/>
            <ac:spMk id="183" creationId="{0FE3923D-B1BC-4E5F-5548-009B5D13D139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36" v="47083"/>
          <ac:spMkLst>
            <pc:docMk/>
            <pc:sldMk cId="2825979349" sldId="4190"/>
            <ac:spMk id="184" creationId="{1FD5F7D7-CC6C-2DAB-36D5-5F5693432095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37" v="47085"/>
          <ac:spMkLst>
            <pc:docMk/>
            <pc:sldMk cId="2825979349" sldId="4190"/>
            <ac:spMk id="185" creationId="{4C2A3D43-4466-D2E6-08CD-09AB466B4A7F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77" v="47295"/>
          <ac:spMkLst>
            <pc:docMk/>
            <pc:sldMk cId="2825979349" sldId="4190"/>
            <ac:spMk id="186" creationId="{11A8F1C7-7594-080E-D010-294FC65FA06A}"/>
          </ac:spMkLst>
        </pc:spChg>
        <pc:spChg chg="add del mod">
          <ac:chgData name="Ryterski Finn (HNE US-MI-PB-BO)" userId="efff052d-68b9-4e8d-b65b-45dff653056d" providerId="ADAL" clId="{870BDC5B-2E94-425D-B3D4-696163FAE54F}" dt="2025-04-07T08:58:09.753" v="31739" actId="478"/>
          <ac:spMkLst>
            <pc:docMk/>
            <pc:sldMk cId="2825979349" sldId="4190"/>
            <ac:spMk id="186" creationId="{38437417-39F3-5ED4-75A5-1489A73BF54E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38" v="47087"/>
          <ac:spMkLst>
            <pc:docMk/>
            <pc:sldMk cId="2825979349" sldId="4190"/>
            <ac:spMk id="187" creationId="{5AF6BD7F-1E7D-1074-4111-61F4CA8364BD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39" v="47089"/>
          <ac:spMkLst>
            <pc:docMk/>
            <pc:sldMk cId="2825979349" sldId="4190"/>
            <ac:spMk id="188" creationId="{E2EE59E1-A459-D277-F61A-04D0BC32CE79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40" v="47091"/>
          <ac:spMkLst>
            <pc:docMk/>
            <pc:sldMk cId="2825979349" sldId="4190"/>
            <ac:spMk id="189" creationId="{2A4AFAA1-114C-BDBE-B964-6C30EA333670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42" v="47093"/>
          <ac:spMkLst>
            <pc:docMk/>
            <pc:sldMk cId="2825979349" sldId="4190"/>
            <ac:spMk id="190" creationId="{D1F0E2A8-BDBF-B71E-FC04-599C139412B7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43" v="47095"/>
          <ac:spMkLst>
            <pc:docMk/>
            <pc:sldMk cId="2825979349" sldId="4190"/>
            <ac:spMk id="191" creationId="{25128C4B-6939-8E30-556C-8A5AA7B2F1F9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44" v="47097"/>
          <ac:spMkLst>
            <pc:docMk/>
            <pc:sldMk cId="2825979349" sldId="4190"/>
            <ac:spMk id="192" creationId="{1E574093-A8A1-EA83-554B-EF26677B57EE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46" v="47099"/>
          <ac:spMkLst>
            <pc:docMk/>
            <pc:sldMk cId="2825979349" sldId="4190"/>
            <ac:spMk id="193" creationId="{14D99713-E5C9-9FB8-F997-1952502F6D33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47" v="47101"/>
          <ac:spMkLst>
            <pc:docMk/>
            <pc:sldMk cId="2825979349" sldId="4190"/>
            <ac:spMk id="194" creationId="{FAD82B18-5CAC-04BF-B2C3-E17DA7DF766B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48" v="47103"/>
          <ac:spMkLst>
            <pc:docMk/>
            <pc:sldMk cId="2825979349" sldId="4190"/>
            <ac:spMk id="195" creationId="{2358E9E2-E17E-8193-113C-F62B438ABA1E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50" v="47105"/>
          <ac:spMkLst>
            <pc:docMk/>
            <pc:sldMk cId="2825979349" sldId="4190"/>
            <ac:spMk id="196" creationId="{1BA8A736-EF71-87CB-E5F2-DE5120142DD6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51" v="47107"/>
          <ac:spMkLst>
            <pc:docMk/>
            <pc:sldMk cId="2825979349" sldId="4190"/>
            <ac:spMk id="197" creationId="{DFD20306-A31C-4070-5D73-1BD88D88693B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53" v="47109"/>
          <ac:spMkLst>
            <pc:docMk/>
            <pc:sldMk cId="2825979349" sldId="4190"/>
            <ac:spMk id="198" creationId="{FA56B302-B36A-48CD-B1EA-D1D7FE28FDD2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54" v="47111"/>
          <ac:spMkLst>
            <pc:docMk/>
            <pc:sldMk cId="2825979349" sldId="4190"/>
            <ac:spMk id="199" creationId="{1C2173BA-B83B-AE80-61BD-AE0130A18B9C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55" v="47113"/>
          <ac:spMkLst>
            <pc:docMk/>
            <pc:sldMk cId="2825979349" sldId="4190"/>
            <ac:spMk id="200" creationId="{731C1E63-11F9-1621-AD1F-FB4783E7C963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56" v="47115"/>
          <ac:spMkLst>
            <pc:docMk/>
            <pc:sldMk cId="2825979349" sldId="4190"/>
            <ac:spMk id="201" creationId="{454EB6CF-F44C-6EDE-AAE0-71B704BEDC51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58" v="47117"/>
          <ac:spMkLst>
            <pc:docMk/>
            <pc:sldMk cId="2825979349" sldId="4190"/>
            <ac:spMk id="202" creationId="{E6921BF7-E327-1A1A-E86C-CFB32489CF9B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59" v="47119"/>
          <ac:spMkLst>
            <pc:docMk/>
            <pc:sldMk cId="2825979349" sldId="4190"/>
            <ac:spMk id="203" creationId="{EF002831-FBBD-0823-C641-5F17A9603B0E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60" v="47121"/>
          <ac:spMkLst>
            <pc:docMk/>
            <pc:sldMk cId="2825979349" sldId="4190"/>
            <ac:spMk id="204" creationId="{CBBF3BDB-3E1F-4A54-89CE-6CD2252A3EC1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62" v="47123"/>
          <ac:spMkLst>
            <pc:docMk/>
            <pc:sldMk cId="2825979349" sldId="4190"/>
            <ac:spMk id="205" creationId="{82D4A73A-62CE-DB55-956A-A5C612CCD303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63" v="47125"/>
          <ac:spMkLst>
            <pc:docMk/>
            <pc:sldMk cId="2825979349" sldId="4190"/>
            <ac:spMk id="206" creationId="{25755AD8-D8E8-B981-9E0F-D4B0D53D1F4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65" v="47127"/>
          <ac:spMkLst>
            <pc:docMk/>
            <pc:sldMk cId="2825979349" sldId="4190"/>
            <ac:spMk id="207" creationId="{9A36708F-6915-B9F7-3B96-19EECE7A8220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66" v="47129"/>
          <ac:spMkLst>
            <pc:docMk/>
            <pc:sldMk cId="2825979349" sldId="4190"/>
            <ac:spMk id="208" creationId="{2B538887-ADA6-F18C-960D-9F5E74BA43D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67" v="47131"/>
          <ac:spMkLst>
            <pc:docMk/>
            <pc:sldMk cId="2825979349" sldId="4190"/>
            <ac:spMk id="209" creationId="{29070D3E-A21B-F1C5-5C1C-C7098328D0F6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68" v="47133"/>
          <ac:spMkLst>
            <pc:docMk/>
            <pc:sldMk cId="2825979349" sldId="4190"/>
            <ac:spMk id="210" creationId="{0C0CDD26-610B-7D09-5E57-6937ACD9A66E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70" v="47135"/>
          <ac:spMkLst>
            <pc:docMk/>
            <pc:sldMk cId="2825979349" sldId="4190"/>
            <ac:spMk id="211" creationId="{51F9CCE3-6767-DA8D-FAAF-89635D46D010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71" v="47137"/>
          <ac:spMkLst>
            <pc:docMk/>
            <pc:sldMk cId="2825979349" sldId="4190"/>
            <ac:spMk id="212" creationId="{1699DBDD-A1B2-C558-F09D-9E6C4A3E26F2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72" v="47139"/>
          <ac:spMkLst>
            <pc:docMk/>
            <pc:sldMk cId="2825979349" sldId="4190"/>
            <ac:spMk id="213" creationId="{B80D353D-BFED-0EEC-4B42-C71796439A81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74" v="47141"/>
          <ac:spMkLst>
            <pc:docMk/>
            <pc:sldMk cId="2825979349" sldId="4190"/>
            <ac:spMk id="214" creationId="{B2C482DF-37A1-B802-DFA5-2566212871AC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75" v="47143"/>
          <ac:spMkLst>
            <pc:docMk/>
            <pc:sldMk cId="2825979349" sldId="4190"/>
            <ac:spMk id="215" creationId="{18087685-FF55-6C0A-08E0-C613BAD9D54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76" v="47145"/>
          <ac:spMkLst>
            <pc:docMk/>
            <pc:sldMk cId="2825979349" sldId="4190"/>
            <ac:spMk id="216" creationId="{BB4E33F4-E4A6-0385-D8F0-1F8DB4FB675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77" v="47147"/>
          <ac:spMkLst>
            <pc:docMk/>
            <pc:sldMk cId="2825979349" sldId="4190"/>
            <ac:spMk id="217" creationId="{50FBA4DF-FB9E-03B5-CC40-A689750AC8FE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79" v="47149"/>
          <ac:spMkLst>
            <pc:docMk/>
            <pc:sldMk cId="2825979349" sldId="4190"/>
            <ac:spMk id="218" creationId="{4A8EA97E-CF5F-6838-0EA2-A495A1D24382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80" v="47151"/>
          <ac:spMkLst>
            <pc:docMk/>
            <pc:sldMk cId="2825979349" sldId="4190"/>
            <ac:spMk id="219" creationId="{D8BFEEAB-A038-508D-2331-D46F9FFD4D86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81" v="47153"/>
          <ac:spMkLst>
            <pc:docMk/>
            <pc:sldMk cId="2825979349" sldId="4190"/>
            <ac:spMk id="220" creationId="{D2EE8F0F-E08B-2310-3F6A-BB443B8F22B8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82" v="47155"/>
          <ac:spMkLst>
            <pc:docMk/>
            <pc:sldMk cId="2825979349" sldId="4190"/>
            <ac:spMk id="221" creationId="{E1AE6E97-8C02-4BE1-7185-721D0447222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84" v="47157"/>
          <ac:spMkLst>
            <pc:docMk/>
            <pc:sldMk cId="2825979349" sldId="4190"/>
            <ac:spMk id="222" creationId="{BEDBE227-B041-8495-AEB7-00C26F595E6D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85" v="47159"/>
          <ac:spMkLst>
            <pc:docMk/>
            <pc:sldMk cId="2825979349" sldId="4190"/>
            <ac:spMk id="223" creationId="{16B82BE7-FAB4-AAEE-C82E-8CD2081A8288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86" v="47161"/>
          <ac:spMkLst>
            <pc:docMk/>
            <pc:sldMk cId="2825979349" sldId="4190"/>
            <ac:spMk id="224" creationId="{7CE9C7EF-77B5-2117-8F36-4F23BE6B2305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88" v="47163"/>
          <ac:spMkLst>
            <pc:docMk/>
            <pc:sldMk cId="2825979349" sldId="4190"/>
            <ac:spMk id="225" creationId="{4BA0C942-67AE-70DF-5848-0022B2D46070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89" v="47165"/>
          <ac:spMkLst>
            <pc:docMk/>
            <pc:sldMk cId="2825979349" sldId="4190"/>
            <ac:spMk id="226" creationId="{CB944070-AAEE-5787-7B6A-1E02168DD2AD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90" v="47167"/>
          <ac:spMkLst>
            <pc:docMk/>
            <pc:sldMk cId="2825979349" sldId="4190"/>
            <ac:spMk id="227" creationId="{C3B5BC9E-59FF-482D-10AC-D7DA9564472C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91" v="47169"/>
          <ac:spMkLst>
            <pc:docMk/>
            <pc:sldMk cId="2825979349" sldId="4190"/>
            <ac:spMk id="228" creationId="{A36D220F-A14D-C3F6-88BC-358920AA4358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93" v="47171"/>
          <ac:spMkLst>
            <pc:docMk/>
            <pc:sldMk cId="2825979349" sldId="4190"/>
            <ac:spMk id="229" creationId="{66ED6A34-E32C-F401-59C2-9ABBBDA181F3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94" v="47173"/>
          <ac:spMkLst>
            <pc:docMk/>
            <pc:sldMk cId="2825979349" sldId="4190"/>
            <ac:spMk id="230" creationId="{288E0588-53DA-AE2E-76C8-6B9E895BD815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96" v="47175"/>
          <ac:spMkLst>
            <pc:docMk/>
            <pc:sldMk cId="2825979349" sldId="4190"/>
            <ac:spMk id="231" creationId="{01F9DAD0-F6BA-05E9-3F1E-AEECD07DB8BC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97" v="47177"/>
          <ac:spMkLst>
            <pc:docMk/>
            <pc:sldMk cId="2825979349" sldId="4190"/>
            <ac:spMk id="232" creationId="{AF249FFE-B4FA-BB3B-B3F5-DF6DF00183F1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98" v="47179"/>
          <ac:spMkLst>
            <pc:docMk/>
            <pc:sldMk cId="2825979349" sldId="4190"/>
            <ac:spMk id="233" creationId="{3DFE8255-F961-A5D1-293F-45A6A671B47D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199" v="47181"/>
          <ac:spMkLst>
            <pc:docMk/>
            <pc:sldMk cId="2825979349" sldId="4190"/>
            <ac:spMk id="234" creationId="{AE4647A4-DD77-3F4C-EC1E-02A40469B086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01" v="47183"/>
          <ac:spMkLst>
            <pc:docMk/>
            <pc:sldMk cId="2825979349" sldId="4190"/>
            <ac:spMk id="235" creationId="{54411AEF-966A-55D8-FB8F-F7F618A3BF96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02" v="47185"/>
          <ac:spMkLst>
            <pc:docMk/>
            <pc:sldMk cId="2825979349" sldId="4190"/>
            <ac:spMk id="236" creationId="{E5C3C45C-FFC7-6257-7E9F-34DDD739D04B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03" v="47187"/>
          <ac:spMkLst>
            <pc:docMk/>
            <pc:sldMk cId="2825979349" sldId="4190"/>
            <ac:spMk id="237" creationId="{8C2ACCE4-F88B-0306-F8D5-B67ED471DB9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04" v="47189"/>
          <ac:spMkLst>
            <pc:docMk/>
            <pc:sldMk cId="2825979349" sldId="4190"/>
            <ac:spMk id="238" creationId="{BD83D6D0-169C-9B93-7C8D-2E43527EC1EE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05" v="47191"/>
          <ac:spMkLst>
            <pc:docMk/>
            <pc:sldMk cId="2825979349" sldId="4190"/>
            <ac:spMk id="239" creationId="{EF55A779-78D2-CFE8-34AA-47E2BF51B673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07" v="47193"/>
          <ac:spMkLst>
            <pc:docMk/>
            <pc:sldMk cId="2825979349" sldId="4190"/>
            <ac:spMk id="240" creationId="{5569BC82-E070-E526-0BD1-0E8FFAF97E71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78" v="47297"/>
          <ac:spMkLst>
            <pc:docMk/>
            <pc:sldMk cId="2825979349" sldId="4190"/>
            <ac:spMk id="241" creationId="{10A89FE1-CEB7-A9A8-8213-35B93E118E1F}"/>
          </ac:spMkLst>
        </pc:spChg>
        <pc:spChg chg="add del mod">
          <ac:chgData name="Ryterski Finn (HNE US-MI-PB-BO)" userId="efff052d-68b9-4e8d-b65b-45dff653056d" providerId="ADAL" clId="{870BDC5B-2E94-425D-B3D4-696163FAE54F}" dt="2025-04-07T08:58:10.836" v="31740" actId="478"/>
          <ac:spMkLst>
            <pc:docMk/>
            <pc:sldMk cId="2825979349" sldId="4190"/>
            <ac:spMk id="241" creationId="{D3831BD2-C938-584F-5688-D3E849887C79}"/>
          </ac:spMkLst>
        </pc:spChg>
        <pc:spChg chg="add del mod">
          <ac:chgData name="Ryterski Finn (HNE US-MI-PB-BO)" userId="efff052d-68b9-4e8d-b65b-45dff653056d" providerId="ADAL" clId="{870BDC5B-2E94-425D-B3D4-696163FAE54F}" dt="2025-04-07T08:58:08.989" v="31738" actId="478"/>
          <ac:spMkLst>
            <pc:docMk/>
            <pc:sldMk cId="2825979349" sldId="4190"/>
            <ac:spMk id="242" creationId="{11DF0F63-360F-62D8-0D81-7F71C63DA8EC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80" v="47299"/>
          <ac:spMkLst>
            <pc:docMk/>
            <pc:sldMk cId="2825979349" sldId="4190"/>
            <ac:spMk id="242" creationId="{389DB5BD-58E6-05EA-A9D2-038D31AC0767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08" v="47195"/>
          <ac:spMkLst>
            <pc:docMk/>
            <pc:sldMk cId="2825979349" sldId="4190"/>
            <ac:spMk id="243" creationId="{1A4724AA-0414-8DA7-9148-8DCB6B54576A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10" v="47197"/>
          <ac:spMkLst>
            <pc:docMk/>
            <pc:sldMk cId="2825979349" sldId="4190"/>
            <ac:spMk id="244" creationId="{A03D2864-23C5-B81B-D973-9B3DBA9F42D2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11" v="47199"/>
          <ac:spMkLst>
            <pc:docMk/>
            <pc:sldMk cId="2825979349" sldId="4190"/>
            <ac:spMk id="245" creationId="{E449D5BD-8D56-2C79-E0E3-2FF3438804F7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12" v="47201"/>
          <ac:spMkLst>
            <pc:docMk/>
            <pc:sldMk cId="2825979349" sldId="4190"/>
            <ac:spMk id="246" creationId="{827EE444-34D6-6B31-7F4A-467D1988E70C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14" v="47203"/>
          <ac:spMkLst>
            <pc:docMk/>
            <pc:sldMk cId="2825979349" sldId="4190"/>
            <ac:spMk id="247" creationId="{EE94D404-7D78-6FEB-2C68-20463CF264FA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15" v="47205"/>
          <ac:spMkLst>
            <pc:docMk/>
            <pc:sldMk cId="2825979349" sldId="4190"/>
            <ac:spMk id="248" creationId="{A6DB4E1D-4340-4C16-F089-C691C5967A8D}"/>
          </ac:spMkLst>
        </pc:spChg>
        <pc:spChg chg="add del mod ord">
          <ac:chgData name="Ryterski Finn (HNE US-MI-PB-BO)" userId="efff052d-68b9-4e8d-b65b-45dff653056d" providerId="ADAL" clId="{870BDC5B-2E94-425D-B3D4-696163FAE54F}" dt="2025-04-09T07:43:08.216" v="47207"/>
          <ac:spMkLst>
            <pc:docMk/>
            <pc:sldMk cId="2825979349" sldId="4190"/>
            <ac:spMk id="249" creationId="{7614AD3E-C5FD-4EA8-DF49-7DAF90C4A7E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18" v="47209"/>
          <ac:spMkLst>
            <pc:docMk/>
            <pc:sldMk cId="2825979349" sldId="4190"/>
            <ac:spMk id="250" creationId="{7E30B3A0-2515-CBA5-B9BA-53A791ED2E57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19" v="47211"/>
          <ac:spMkLst>
            <pc:docMk/>
            <pc:sldMk cId="2825979349" sldId="4190"/>
            <ac:spMk id="251" creationId="{481F7B65-5B6F-CE53-46D2-8B0F5486E278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20" v="47213"/>
          <ac:spMkLst>
            <pc:docMk/>
            <pc:sldMk cId="2825979349" sldId="4190"/>
            <ac:spMk id="252" creationId="{021928C5-0954-0E05-8509-D3BCB71DAFC0}"/>
          </ac:spMkLst>
        </pc:spChg>
        <pc:spChg chg="add del mod">
          <ac:chgData name="Ryterski Finn (HNE US-MI-PB-BO)" userId="efff052d-68b9-4e8d-b65b-45dff653056d" providerId="ADAL" clId="{870BDC5B-2E94-425D-B3D4-696163FAE54F}" dt="2025-04-07T08:58:14.433" v="31743" actId="478"/>
          <ac:spMkLst>
            <pc:docMk/>
            <pc:sldMk cId="2825979349" sldId="4190"/>
            <ac:spMk id="253" creationId="{6C6D5055-0BF1-8E9A-6D69-C270C2AD880F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81" v="47301"/>
          <ac:spMkLst>
            <pc:docMk/>
            <pc:sldMk cId="2825979349" sldId="4190"/>
            <ac:spMk id="253" creationId="{DF673A15-064A-08DD-A96E-02BA3B64EC09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21" v="47215"/>
          <ac:spMkLst>
            <pc:docMk/>
            <pc:sldMk cId="2825979349" sldId="4190"/>
            <ac:spMk id="254" creationId="{06905A2D-389A-79EE-F1A7-71714D5A8061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22" v="47217"/>
          <ac:spMkLst>
            <pc:docMk/>
            <pc:sldMk cId="2825979349" sldId="4190"/>
            <ac:spMk id="255" creationId="{D5C622BD-FEEC-1ACA-552A-2DC1C8B99722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24" v="47219"/>
          <ac:spMkLst>
            <pc:docMk/>
            <pc:sldMk cId="2825979349" sldId="4190"/>
            <ac:spMk id="256" creationId="{48FF7217-FE3B-D724-C626-AB2C99E8B5CA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25" v="47221"/>
          <ac:spMkLst>
            <pc:docMk/>
            <pc:sldMk cId="2825979349" sldId="4190"/>
            <ac:spMk id="257" creationId="{1AC67456-DB3F-6456-4280-42DD3D9DB48D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26" v="47223"/>
          <ac:spMkLst>
            <pc:docMk/>
            <pc:sldMk cId="2825979349" sldId="4190"/>
            <ac:spMk id="258" creationId="{B9D2D929-C66D-56DC-07BB-48C43B91B5BE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28" v="47225"/>
          <ac:spMkLst>
            <pc:docMk/>
            <pc:sldMk cId="2825979349" sldId="4190"/>
            <ac:spMk id="259" creationId="{78F59E8B-A5F0-BC6A-9792-4338B1640C2C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29" v="47227"/>
          <ac:spMkLst>
            <pc:docMk/>
            <pc:sldMk cId="2825979349" sldId="4190"/>
            <ac:spMk id="260" creationId="{283DF0A9-7119-622F-126D-A7BDBE09906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30" v="47229"/>
          <ac:spMkLst>
            <pc:docMk/>
            <pc:sldMk cId="2825979349" sldId="4190"/>
            <ac:spMk id="261" creationId="{B291D9F7-CC4E-2EB6-E102-FAA61C1A2A5E}"/>
          </ac:spMkLst>
        </pc:spChg>
        <pc:spChg chg="add del mod">
          <ac:chgData name="Ryterski Finn (HNE US-MI-PB-BO)" userId="efff052d-68b9-4e8d-b65b-45dff653056d" providerId="ADAL" clId="{870BDC5B-2E94-425D-B3D4-696163FAE54F}" dt="2025-04-07T09:02:13.068" v="31864" actId="478"/>
          <ac:spMkLst>
            <pc:docMk/>
            <pc:sldMk cId="2825979349" sldId="4190"/>
            <ac:spMk id="262" creationId="{9FD33224-CDCE-556F-F01D-6179AD080603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82" v="47303"/>
          <ac:spMkLst>
            <pc:docMk/>
            <pc:sldMk cId="2825979349" sldId="4190"/>
            <ac:spMk id="262" creationId="{D12932B0-425A-FD3A-2AB7-42FF0C787BE9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33" v="47231"/>
          <ac:spMkLst>
            <pc:docMk/>
            <pc:sldMk cId="2825979349" sldId="4190"/>
            <ac:spMk id="263" creationId="{3BFF8EFE-70BF-2FCC-E151-729BDE4EF31D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34" v="47233"/>
          <ac:spMkLst>
            <pc:docMk/>
            <pc:sldMk cId="2825979349" sldId="4190"/>
            <ac:spMk id="264" creationId="{30D82935-6DD0-638B-B2A0-19ED795A8D4D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35" v="47235"/>
          <ac:spMkLst>
            <pc:docMk/>
            <pc:sldMk cId="2825979349" sldId="4190"/>
            <ac:spMk id="265" creationId="{94B4B858-AFFD-636F-4BA8-C13C199F2DBD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37" v="47237"/>
          <ac:spMkLst>
            <pc:docMk/>
            <pc:sldMk cId="2825979349" sldId="4190"/>
            <ac:spMk id="266" creationId="{23EC15B5-77D0-115D-287D-1685B45E9BE2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38" v="47239"/>
          <ac:spMkLst>
            <pc:docMk/>
            <pc:sldMk cId="2825979349" sldId="4190"/>
            <ac:spMk id="267" creationId="{3BDA911C-5300-3BBA-3367-DFDFAA2B3087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40" v="47241"/>
          <ac:spMkLst>
            <pc:docMk/>
            <pc:sldMk cId="2825979349" sldId="4190"/>
            <ac:spMk id="268" creationId="{1F8CE846-7105-5C80-BCB1-1901393B0FE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41" v="47243"/>
          <ac:spMkLst>
            <pc:docMk/>
            <pc:sldMk cId="2825979349" sldId="4190"/>
            <ac:spMk id="269" creationId="{5E6B676B-60BC-EEA2-A158-12544464BF28}"/>
          </ac:spMkLst>
        </pc:spChg>
        <pc:spChg chg="add del mod">
          <ac:chgData name="Ryterski Finn (HNE US-MI-PB-BO)" userId="efff052d-68b9-4e8d-b65b-45dff653056d" providerId="ADAL" clId="{870BDC5B-2E94-425D-B3D4-696163FAE54F}" dt="2025-04-07T09:02:12.240" v="31863" actId="478"/>
          <ac:spMkLst>
            <pc:docMk/>
            <pc:sldMk cId="2825979349" sldId="4190"/>
            <ac:spMk id="270" creationId="{6471A611-C642-5331-BC72-4D786DBDF89E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84" v="47305"/>
          <ac:spMkLst>
            <pc:docMk/>
            <pc:sldMk cId="2825979349" sldId="4190"/>
            <ac:spMk id="270" creationId="{7919D8CB-F5A2-4844-E049-2143DF973C50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43" v="47245"/>
          <ac:spMkLst>
            <pc:docMk/>
            <pc:sldMk cId="2825979349" sldId="4190"/>
            <ac:spMk id="271" creationId="{B8FEA12F-8D61-6201-B231-13D6BADAB350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44" v="47247"/>
          <ac:spMkLst>
            <pc:docMk/>
            <pc:sldMk cId="2825979349" sldId="4190"/>
            <ac:spMk id="272" creationId="{9AC86EB9-3827-E091-EB8A-F3D9ED35A18E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45" v="47249"/>
          <ac:spMkLst>
            <pc:docMk/>
            <pc:sldMk cId="2825979349" sldId="4190"/>
            <ac:spMk id="273" creationId="{17D70F19-7CCF-AE1F-A56C-6BB77C76BA91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46" v="47251"/>
          <ac:spMkLst>
            <pc:docMk/>
            <pc:sldMk cId="2825979349" sldId="4190"/>
            <ac:spMk id="274" creationId="{8960C9A0-4DAF-7E47-C00A-ED9E1B125203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47" v="47253"/>
          <ac:spMkLst>
            <pc:docMk/>
            <pc:sldMk cId="2825979349" sldId="4190"/>
            <ac:spMk id="275" creationId="{1AB3946E-C53A-40C6-D1C8-60A5D9E8C56F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49" v="47255"/>
          <ac:spMkLst>
            <pc:docMk/>
            <pc:sldMk cId="2825979349" sldId="4190"/>
            <ac:spMk id="276" creationId="{D404D766-4BFB-A3CF-C839-BA3C3C31CE49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50" v="47257"/>
          <ac:spMkLst>
            <pc:docMk/>
            <pc:sldMk cId="2825979349" sldId="4190"/>
            <ac:spMk id="277" creationId="{412526D7-4D9D-6654-F9C1-27B11049B1E7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51" v="47259"/>
          <ac:spMkLst>
            <pc:docMk/>
            <pc:sldMk cId="2825979349" sldId="4190"/>
            <ac:spMk id="278" creationId="{59658F40-B668-3FD1-949F-384AF2276EE9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52" v="47261"/>
          <ac:spMkLst>
            <pc:docMk/>
            <pc:sldMk cId="2825979349" sldId="4190"/>
            <ac:spMk id="279" creationId="{6B95A297-A3FD-130A-30B2-43DA63B8AD3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53" v="47263"/>
          <ac:spMkLst>
            <pc:docMk/>
            <pc:sldMk cId="2825979349" sldId="4190"/>
            <ac:spMk id="280" creationId="{6FD01AB3-D2D9-470E-0AB1-7D0559795295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55" v="47265"/>
          <ac:spMkLst>
            <pc:docMk/>
            <pc:sldMk cId="2825979349" sldId="4190"/>
            <ac:spMk id="281" creationId="{E04B8B37-1ACA-8B54-8839-F0A310F2D4A1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56" v="47267"/>
          <ac:spMkLst>
            <pc:docMk/>
            <pc:sldMk cId="2825979349" sldId="4190"/>
            <ac:spMk id="282" creationId="{13BF6E49-DA3C-D393-D1B1-051C12A1EB4B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58" v="47269"/>
          <ac:spMkLst>
            <pc:docMk/>
            <pc:sldMk cId="2825979349" sldId="4190"/>
            <ac:spMk id="283" creationId="{41EBFDC7-08BD-4324-9B5A-80C688703583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59" v="47271"/>
          <ac:spMkLst>
            <pc:docMk/>
            <pc:sldMk cId="2825979349" sldId="4190"/>
            <ac:spMk id="284" creationId="{BAD74A5C-510B-A21E-ECB2-66ED7FAAE93E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61" v="47273"/>
          <ac:spMkLst>
            <pc:docMk/>
            <pc:sldMk cId="2825979349" sldId="4190"/>
            <ac:spMk id="285" creationId="{8FF33E89-620D-D075-2A94-58EAF2FE36EC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62" v="47275"/>
          <ac:spMkLst>
            <pc:docMk/>
            <pc:sldMk cId="2825979349" sldId="4190"/>
            <ac:spMk id="286" creationId="{9856C583-3FC9-831F-2215-B14355FE46EE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64" v="47277"/>
          <ac:spMkLst>
            <pc:docMk/>
            <pc:sldMk cId="2825979349" sldId="4190"/>
            <ac:spMk id="287" creationId="{1D2CF57B-CCC1-4E62-E620-C378C5B79565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85" v="47307"/>
          <ac:spMkLst>
            <pc:docMk/>
            <pc:sldMk cId="2825979349" sldId="4190"/>
            <ac:spMk id="288" creationId="{620BEB4D-0896-9DBB-A02C-5690AC9848E4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288" creationId="{F700F7F0-8B09-0C48-AB25-828F5D8C037C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289" creationId="{AE0BC043-4C23-15E5-AD75-629CA32AB9C1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87" v="47309"/>
          <ac:spMkLst>
            <pc:docMk/>
            <pc:sldMk cId="2825979349" sldId="4190"/>
            <ac:spMk id="289" creationId="{D534BFD1-33F3-41F8-D213-25343CC7C28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88" v="47311"/>
          <ac:spMkLst>
            <pc:docMk/>
            <pc:sldMk cId="2825979349" sldId="4190"/>
            <ac:spMk id="290" creationId="{6C94CC74-B223-E838-BDD6-229C2B578D10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290" creationId="{B3BD2079-1029-36B7-AA93-701FF14D5D04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291" creationId="{277552D4-851C-AC20-101C-0EF10837B7DB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89" v="47313"/>
          <ac:spMkLst>
            <pc:docMk/>
            <pc:sldMk cId="2825979349" sldId="4190"/>
            <ac:spMk id="291" creationId="{8F1067A5-2A2D-EDF9-A9FB-799A350A0FA3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292" creationId="{77239C06-40E9-62A1-4C03-3C808AE24F19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90" v="47315"/>
          <ac:spMkLst>
            <pc:docMk/>
            <pc:sldMk cId="2825979349" sldId="4190"/>
            <ac:spMk id="292" creationId="{895A379B-0452-7E42-9C0C-4021F53407B8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91" v="47317"/>
          <ac:spMkLst>
            <pc:docMk/>
            <pc:sldMk cId="2825979349" sldId="4190"/>
            <ac:spMk id="293" creationId="{88F18D46-5BD9-355E-BDF5-C92D948EC2CC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293" creationId="{9B2E4EEC-5318-235D-5F79-BDB9E7B93950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92" v="47319"/>
          <ac:spMkLst>
            <pc:docMk/>
            <pc:sldMk cId="2825979349" sldId="4190"/>
            <ac:spMk id="294" creationId="{64290658-D208-8BA4-DC36-757E1B67AA58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294" creationId="{C7A57F1E-D57F-86CC-AAF5-7C6893C80E95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93" v="47321"/>
          <ac:spMkLst>
            <pc:docMk/>
            <pc:sldMk cId="2825979349" sldId="4190"/>
            <ac:spMk id="295" creationId="{0CA72FD5-60FF-FA68-601F-99E7D818781E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295" creationId="{A2F6825C-EAC5-41E7-A641-9EEBD91DFBC7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296" creationId="{A9409896-8CF4-A53F-A5E3-067FCC08305B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96" v="47323"/>
          <ac:spMkLst>
            <pc:docMk/>
            <pc:sldMk cId="2825979349" sldId="4190"/>
            <ac:spMk id="296" creationId="{E9145C95-9835-658D-8FF0-D8E1F89D7B29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97" v="47325"/>
          <ac:spMkLst>
            <pc:docMk/>
            <pc:sldMk cId="2825979349" sldId="4190"/>
            <ac:spMk id="297" creationId="{798E8C60-1CA0-8C73-8CE5-6551EE556B74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297" creationId="{C1BD6431-82BA-394F-0A5B-BE31B9B7EAF2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298" creationId="{6F1ED5D1-14FC-503A-AA3F-527B1DBE0CFC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98" v="47327"/>
          <ac:spMkLst>
            <pc:docMk/>
            <pc:sldMk cId="2825979349" sldId="4190"/>
            <ac:spMk id="298" creationId="{E904C4B3-4DA1-92DA-62FC-856DEE6BA33A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299" v="47329"/>
          <ac:spMkLst>
            <pc:docMk/>
            <pc:sldMk cId="2825979349" sldId="4190"/>
            <ac:spMk id="299" creationId="{ACDE3607-6BD2-02BD-9208-DD617504B517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299" creationId="{DCE24870-36D6-F051-2CE2-BBEB9B4D3FA6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00" creationId="{31602810-DAC3-1CCB-E7E7-F4C0377EDE27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00" v="47331"/>
          <ac:spMkLst>
            <pc:docMk/>
            <pc:sldMk cId="2825979349" sldId="4190"/>
            <ac:spMk id="300" creationId="{7737F975-CAAA-5B52-D395-C4E3A89D148D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02" v="47333"/>
          <ac:spMkLst>
            <pc:docMk/>
            <pc:sldMk cId="2825979349" sldId="4190"/>
            <ac:spMk id="301" creationId="{A2FC1B7D-C831-1613-C201-1C1575FA99D8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01" creationId="{EA7D83AA-091D-7455-CCA7-FA6E495F895F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03" v="47335"/>
          <ac:spMkLst>
            <pc:docMk/>
            <pc:sldMk cId="2825979349" sldId="4190"/>
            <ac:spMk id="302" creationId="{4736B429-86C2-1A28-4E23-E0920771F5DE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02" creationId="{E5F3B460-17D2-C4C5-5752-403BB193F7EF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04" v="47337"/>
          <ac:spMkLst>
            <pc:docMk/>
            <pc:sldMk cId="2825979349" sldId="4190"/>
            <ac:spMk id="303" creationId="{6252BFE9-F9C4-E3CA-74FB-BB24F2F0928B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03" creationId="{DDCEB216-5711-4578-CC27-91DB15EBCCC1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05" v="47339"/>
          <ac:spMkLst>
            <pc:docMk/>
            <pc:sldMk cId="2825979349" sldId="4190"/>
            <ac:spMk id="304" creationId="{38E204C7-5869-A41C-9D66-4615B85B3F60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04" creationId="{A12EADB4-E83E-2EEE-7621-F016C850CF99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07" v="47341"/>
          <ac:spMkLst>
            <pc:docMk/>
            <pc:sldMk cId="2825979349" sldId="4190"/>
            <ac:spMk id="305" creationId="{17DE827D-DBF2-51CC-F98D-98A49A9AD301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05" creationId="{B7E806B3-4F2E-A202-6E65-1943C3F54218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08" v="47343"/>
          <ac:spMkLst>
            <pc:docMk/>
            <pc:sldMk cId="2825979349" sldId="4190"/>
            <ac:spMk id="306" creationId="{07421C1B-FB03-FA26-FE4F-4236932DAF74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06" creationId="{47FA17C9-D9C7-E811-CFDE-77DAC4B5B681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07" creationId="{250C549E-701F-9BEC-4AAF-4DD1B48EF447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09" v="47345"/>
          <ac:spMkLst>
            <pc:docMk/>
            <pc:sldMk cId="2825979349" sldId="4190"/>
            <ac:spMk id="307" creationId="{79DB2AF1-2698-3BF4-6F09-3A5D3F86B9AD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08" creationId="{464E0D77-7BA7-713A-714B-FFBC4D5A564C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11" v="47347"/>
          <ac:spMkLst>
            <pc:docMk/>
            <pc:sldMk cId="2825979349" sldId="4190"/>
            <ac:spMk id="308" creationId="{E400F4C1-994F-6C96-A1F1-289F14F8919D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12" v="47349"/>
          <ac:spMkLst>
            <pc:docMk/>
            <pc:sldMk cId="2825979349" sldId="4190"/>
            <ac:spMk id="309" creationId="{83287840-6E2D-7744-5961-BE57C75318AF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09" creationId="{A3AF857A-C813-418C-E73F-142AA50845BC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10" creationId="{A10B4019-2FFD-7080-1DE3-624ACF3B98F7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13" v="47351"/>
          <ac:spMkLst>
            <pc:docMk/>
            <pc:sldMk cId="2825979349" sldId="4190"/>
            <ac:spMk id="310" creationId="{C5010AED-55B0-4930-C935-42AF8CC68314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11" creationId="{21CD4C2D-B99E-D460-F8D3-37B6801F484B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14" v="47353"/>
          <ac:spMkLst>
            <pc:docMk/>
            <pc:sldMk cId="2825979349" sldId="4190"/>
            <ac:spMk id="311" creationId="{F5013BD8-BCAA-4BAE-1B00-C02BA70FA5E0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12" creationId="{5D1F8504-D26C-7D02-10E1-44AACD5264F6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15" v="47355"/>
          <ac:spMkLst>
            <pc:docMk/>
            <pc:sldMk cId="2825979349" sldId="4190"/>
            <ac:spMk id="312" creationId="{CC56D341-6E55-1379-DE16-80D8A2F9F0FA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13" creationId="{973E3468-4D54-45E4-B12F-1E678624A7F3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16" v="47357"/>
          <ac:spMkLst>
            <pc:docMk/>
            <pc:sldMk cId="2825979349" sldId="4190"/>
            <ac:spMk id="313" creationId="{DB4E79D5-7382-B2AF-54B2-FDA518C9B54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18" v="47359"/>
          <ac:spMkLst>
            <pc:docMk/>
            <pc:sldMk cId="2825979349" sldId="4190"/>
            <ac:spMk id="314" creationId="{B9A7A2B8-990B-4E04-E960-6207B7250AB2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14" creationId="{D7B21B31-B7DE-D17B-1C93-2C1F7793716B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15" creationId="{75646A42-6087-5FDA-1533-15BF8EB02B97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19" v="47361"/>
          <ac:spMkLst>
            <pc:docMk/>
            <pc:sldMk cId="2825979349" sldId="4190"/>
            <ac:spMk id="315" creationId="{7BBD70C9-1BA7-21AD-55A6-4B4A5F1C5833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20" v="47363"/>
          <ac:spMkLst>
            <pc:docMk/>
            <pc:sldMk cId="2825979349" sldId="4190"/>
            <ac:spMk id="316" creationId="{540ABA54-A779-A1B3-7AC7-116C68529187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16" creationId="{7EB20763-2512-6CC1-E273-6D29CF66788B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22" v="47365"/>
          <ac:spMkLst>
            <pc:docMk/>
            <pc:sldMk cId="2825979349" sldId="4190"/>
            <ac:spMk id="317" creationId="{257CAC7C-4D25-D9DA-CA00-7446D1A4D2CE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17" creationId="{AF6DB970-E1D2-189A-6C5A-8C6DDB5C2862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23" v="47367"/>
          <ac:spMkLst>
            <pc:docMk/>
            <pc:sldMk cId="2825979349" sldId="4190"/>
            <ac:spMk id="318" creationId="{2D40A00A-4CA4-FD67-D47C-357A38DC7F78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18" creationId="{51FF7378-E880-50F8-B18C-9AEDF26AC451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19" creationId="{5A3CD19B-3833-3253-C9E4-081A6D38B593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24" v="47369"/>
          <ac:spMkLst>
            <pc:docMk/>
            <pc:sldMk cId="2825979349" sldId="4190"/>
            <ac:spMk id="319" creationId="{B09CCCAE-7AF5-6531-468A-D46A2FD0D473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25" v="47371"/>
          <ac:spMkLst>
            <pc:docMk/>
            <pc:sldMk cId="2825979349" sldId="4190"/>
            <ac:spMk id="320" creationId="{0B6CA4B7-352D-B51C-EF43-9576A8E21044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20" creationId="{568CBAC0-D455-3242-0CBD-4F0749D4F0EC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21" creationId="{3ACC82B0-4234-F047-D816-FDE963D65ED9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27" v="47373"/>
          <ac:spMkLst>
            <pc:docMk/>
            <pc:sldMk cId="2825979349" sldId="4190"/>
            <ac:spMk id="321" creationId="{6FAFED98-3774-D53C-94F1-07137090A012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22" creationId="{242F14C8-28BF-6990-ED47-201230E26F0D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28" v="47375"/>
          <ac:spMkLst>
            <pc:docMk/>
            <pc:sldMk cId="2825979349" sldId="4190"/>
            <ac:spMk id="322" creationId="{C6EC66A1-8178-AD1E-F93A-35ADAD0BC2C8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23" creationId="{B9ED83EF-9C72-43AF-8E66-15318390DC39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30" v="47377"/>
          <ac:spMkLst>
            <pc:docMk/>
            <pc:sldMk cId="2825979349" sldId="4190"/>
            <ac:spMk id="323" creationId="{C44A2A98-FF43-DF6E-CBCF-033BA3E8A830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24" creationId="{3A41388C-39E2-6686-901E-50EBA0AF1A4E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31" v="47379"/>
          <ac:spMkLst>
            <pc:docMk/>
            <pc:sldMk cId="2825979349" sldId="4190"/>
            <ac:spMk id="324" creationId="{8DE33E26-E92F-C2D2-9E8D-F3EE68583A03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25" creationId="{6CBBA275-E615-DEE9-C140-CBC3AC5BEBEE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33" v="47381"/>
          <ac:spMkLst>
            <pc:docMk/>
            <pc:sldMk cId="2825979349" sldId="4190"/>
            <ac:spMk id="325" creationId="{D6B641B6-C5BC-892F-8C04-FE4EC0495958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34" v="47383"/>
          <ac:spMkLst>
            <pc:docMk/>
            <pc:sldMk cId="2825979349" sldId="4190"/>
            <ac:spMk id="326" creationId="{2331F42D-FF93-A3D8-CE65-200DB04BC638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26" creationId="{8D5ED159-661E-362A-6B5A-450EF7DED637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35" v="47385"/>
          <ac:spMkLst>
            <pc:docMk/>
            <pc:sldMk cId="2825979349" sldId="4190"/>
            <ac:spMk id="327" creationId="{8B16C208-4BE3-DD99-F192-DD30D06883E0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27" creationId="{D3F2BCE3-4E41-DFB0-4B4B-6CC04302F80C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28" creationId="{9C4F0DD6-CA3B-E79B-D55F-A34751A8F4AE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36" v="47387"/>
          <ac:spMkLst>
            <pc:docMk/>
            <pc:sldMk cId="2825979349" sldId="4190"/>
            <ac:spMk id="328" creationId="{EEEAEF19-168D-EEA0-F6B3-8D35CA609031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29" creationId="{52958BD9-3091-1C81-959C-86EB2CA3C380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37" v="47389"/>
          <ac:spMkLst>
            <pc:docMk/>
            <pc:sldMk cId="2825979349" sldId="4190"/>
            <ac:spMk id="329" creationId="{E8A54CEE-BA7F-3CCE-8A24-DF4440551D6C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30" creationId="{5667135B-ACB8-FC2C-003C-6C3FAAA3788D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39" v="47391"/>
          <ac:spMkLst>
            <pc:docMk/>
            <pc:sldMk cId="2825979349" sldId="4190"/>
            <ac:spMk id="330" creationId="{BC9ADE4B-3740-6E4A-0555-36E8EBBFAB70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40" v="47393"/>
          <ac:spMkLst>
            <pc:docMk/>
            <pc:sldMk cId="2825979349" sldId="4190"/>
            <ac:spMk id="331" creationId="{3D3C4152-7A0D-4846-2AD5-B01905DAF953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31" creationId="{CEE1DC39-498D-7845-7408-325028FC270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41" v="47395"/>
          <ac:spMkLst>
            <pc:docMk/>
            <pc:sldMk cId="2825979349" sldId="4190"/>
            <ac:spMk id="332" creationId="{2DA6E38A-0653-3D75-19CC-57C541175C54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32" creationId="{9EF11105-57CB-2A57-AD5B-6F3EF7C04A18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33" creationId="{A996C21B-86D4-CE4D-471E-875873D300E8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42" v="47397"/>
          <ac:spMkLst>
            <pc:docMk/>
            <pc:sldMk cId="2825979349" sldId="4190"/>
            <ac:spMk id="333" creationId="{F2BAFF38-D63D-6BA7-8ED0-3A2A7937B55D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43" v="47399"/>
          <ac:spMkLst>
            <pc:docMk/>
            <pc:sldMk cId="2825979349" sldId="4190"/>
            <ac:spMk id="334" creationId="{1DE61D28-6772-C0A2-145D-328CA4C4F140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34" creationId="{9B33FB22-6C4A-26C2-37EC-4180743AA23E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45" v="47401"/>
          <ac:spMkLst>
            <pc:docMk/>
            <pc:sldMk cId="2825979349" sldId="4190"/>
            <ac:spMk id="335" creationId="{2F33C11F-BA6C-045A-A9F5-CFDB6407F561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35" creationId="{EA1DD08F-AE95-B1CF-2B77-763CEDA46D9B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46" v="47403"/>
          <ac:spMkLst>
            <pc:docMk/>
            <pc:sldMk cId="2825979349" sldId="4190"/>
            <ac:spMk id="336" creationId="{1EDB3DD9-9693-AC33-25CE-485836A2C607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36" creationId="{87F8BAD8-408D-DB80-E92B-6AF56E44ED7D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37" creationId="{05AACAA0-D52F-90D3-CEBF-86F753E2E5A7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47" v="47405"/>
          <ac:spMkLst>
            <pc:docMk/>
            <pc:sldMk cId="2825979349" sldId="4190"/>
            <ac:spMk id="337" creationId="{58C748C8-CC55-FB17-E531-4BE040C1268F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49" v="47407"/>
          <ac:spMkLst>
            <pc:docMk/>
            <pc:sldMk cId="2825979349" sldId="4190"/>
            <ac:spMk id="338" creationId="{98D09B1E-A884-86A6-7378-931151CD067B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38" creationId="{D8893BF0-DA7C-D949-DF6F-6E4BFBEAB842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50" v="47409"/>
          <ac:spMkLst>
            <pc:docMk/>
            <pc:sldMk cId="2825979349" sldId="4190"/>
            <ac:spMk id="339" creationId="{4B18F12B-A798-46C0-1CB9-74B0B90F93E0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39" creationId="{B3085801-1A25-B470-E7E5-F265C5D2DEFD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40" creationId="{10E495AE-E6E7-17AF-4966-AC81A9BF81C6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52" v="47411"/>
          <ac:spMkLst>
            <pc:docMk/>
            <pc:sldMk cId="2825979349" sldId="4190"/>
            <ac:spMk id="340" creationId="{349CEE35-5360-C1ED-BD6E-EA320EF34096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53" v="47413"/>
          <ac:spMkLst>
            <pc:docMk/>
            <pc:sldMk cId="2825979349" sldId="4190"/>
            <ac:spMk id="341" creationId="{71DB1AEE-4D36-547D-ABA6-17668E33771D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41" creationId="{77829C3C-B065-F3F6-6C74-AB2B1886CC74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42" creationId="{0ABB9923-8708-2B87-5267-832710882065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55" v="47415"/>
          <ac:spMkLst>
            <pc:docMk/>
            <pc:sldMk cId="2825979349" sldId="4190"/>
            <ac:spMk id="342" creationId="{771A8C56-254C-A5CF-6730-F317B14E79C8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56" v="47417"/>
          <ac:spMkLst>
            <pc:docMk/>
            <pc:sldMk cId="2825979349" sldId="4190"/>
            <ac:spMk id="343" creationId="{66C3F790-744E-C942-47E0-029AFAD8814C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43" creationId="{D3F68037-92E8-9C42-FB40-01261B2E27F2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57" v="47419"/>
          <ac:spMkLst>
            <pc:docMk/>
            <pc:sldMk cId="2825979349" sldId="4190"/>
            <ac:spMk id="344" creationId="{C5442CC6-1972-9E43-694F-AE8003BB527D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44" creationId="{CB0C97AA-EE83-7ACA-23DF-E1FBF486FCE8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45" creationId="{4EAB86B1-DB52-B706-3884-0A0DB4644BC9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58" v="47421"/>
          <ac:spMkLst>
            <pc:docMk/>
            <pc:sldMk cId="2825979349" sldId="4190"/>
            <ac:spMk id="345" creationId="{F9400B78-F5AA-BF2E-D80E-E0EBD3FFD137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46" creationId="{A52F4129-D169-37B9-95B8-A54E559DF1D9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59" v="47423"/>
          <ac:spMkLst>
            <pc:docMk/>
            <pc:sldMk cId="2825979349" sldId="4190"/>
            <ac:spMk id="346" creationId="{B276D237-281F-AA53-088C-495AFA7C88F8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61" v="47425"/>
          <ac:spMkLst>
            <pc:docMk/>
            <pc:sldMk cId="2825979349" sldId="4190"/>
            <ac:spMk id="347" creationId="{4252E435-60F0-5042-0DA2-5BF1E84F1B5D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47" creationId="{4ED2D46A-84D1-7F7E-8C01-05391D7061CB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62" v="47427"/>
          <ac:spMkLst>
            <pc:docMk/>
            <pc:sldMk cId="2825979349" sldId="4190"/>
            <ac:spMk id="348" creationId="{5DA86FF7-F1C4-35C0-5D4B-CB5A4A209EE8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48" creationId="{D136EE69-5B4A-5C4C-BCE1-8466364B6F1B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63" v="47429"/>
          <ac:spMkLst>
            <pc:docMk/>
            <pc:sldMk cId="2825979349" sldId="4190"/>
            <ac:spMk id="349" creationId="{217B20FD-2E28-52B2-309D-1A2DA1ACA276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49" creationId="{FE42C0D9-FF47-4CB7-9F7B-8297F7DEBAA7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50" creationId="{3157776B-0F1C-6571-F5B1-AA65FF26766F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64" v="47431"/>
          <ac:spMkLst>
            <pc:docMk/>
            <pc:sldMk cId="2825979349" sldId="4190"/>
            <ac:spMk id="350" creationId="{96FDA901-872E-A58B-2429-3867BB2B744D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65" v="47433"/>
          <ac:spMkLst>
            <pc:docMk/>
            <pc:sldMk cId="2825979349" sldId="4190"/>
            <ac:spMk id="351" creationId="{61F91F3E-7310-8AC6-0E63-E0DF1B287639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51" creationId="{E88E4797-3366-1566-D4B5-B79B55A67274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52" creationId="{54E3D80E-7F94-223E-55D3-036F660ED102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66" v="47435"/>
          <ac:spMkLst>
            <pc:docMk/>
            <pc:sldMk cId="2825979349" sldId="4190"/>
            <ac:spMk id="352" creationId="{87FF8072-BB56-81FD-2DC0-E33B06611B75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68" v="47437"/>
          <ac:spMkLst>
            <pc:docMk/>
            <pc:sldMk cId="2825979349" sldId="4190"/>
            <ac:spMk id="353" creationId="{0FCF26B4-D293-8387-8C6F-4EBACE440BB2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53" creationId="{F67CE051-08A2-E4AF-FDA8-9CFAAF36591F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70" v="47439"/>
          <ac:spMkLst>
            <pc:docMk/>
            <pc:sldMk cId="2825979349" sldId="4190"/>
            <ac:spMk id="354" creationId="{20E8655B-7E46-124C-6FEB-EE8ED037BAEF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54" creationId="{F0699323-5E19-B4C8-DEDB-38591CAAAAB6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55" creationId="{03719689-BF91-6640-51E6-150F7ECF38D0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71" v="47441"/>
          <ac:spMkLst>
            <pc:docMk/>
            <pc:sldMk cId="2825979349" sldId="4190"/>
            <ac:spMk id="355" creationId="{2D927DD2-9395-D6F4-E5E7-EC18E85168B3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56" creationId="{7C64D550-A07A-1B24-4A40-9DB69C84D928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72" v="47443"/>
          <ac:spMkLst>
            <pc:docMk/>
            <pc:sldMk cId="2825979349" sldId="4190"/>
            <ac:spMk id="356" creationId="{F354E88F-3F86-044C-E2D4-9C5EC4CFEE51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73" v="47445"/>
          <ac:spMkLst>
            <pc:docMk/>
            <pc:sldMk cId="2825979349" sldId="4190"/>
            <ac:spMk id="357" creationId="{5AA84E17-4813-D27F-4B00-ABEE16E0F3B0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57" creationId="{6A11BD7F-6ED5-9FA3-F224-5FE1D6B67735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58" creationId="{913100CF-0659-E639-1D5A-1C64A0193B1F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74" v="47447"/>
          <ac:spMkLst>
            <pc:docMk/>
            <pc:sldMk cId="2825979349" sldId="4190"/>
            <ac:spMk id="358" creationId="{B37A6AC6-A4D7-7D1C-BC46-20BA345C06C8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75" v="47449"/>
          <ac:spMkLst>
            <pc:docMk/>
            <pc:sldMk cId="2825979349" sldId="4190"/>
            <ac:spMk id="359" creationId="{3D96B48D-C50C-58BC-FAC6-8D513BBC4050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59" creationId="{82DB5251-0CEB-6849-A0E0-21325F3D64F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76" v="47451"/>
          <ac:spMkLst>
            <pc:docMk/>
            <pc:sldMk cId="2825979349" sldId="4190"/>
            <ac:spMk id="360" creationId="{49D3F3C8-035C-6ECF-045B-7AF0A30FA5ED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60" creationId="{8D4E8AB7-885B-1C3D-B436-3065F8B6BA01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77" v="47453"/>
          <ac:spMkLst>
            <pc:docMk/>
            <pc:sldMk cId="2825979349" sldId="4190"/>
            <ac:spMk id="361" creationId="{15E45F46-DF5B-2F37-22D6-56A675504CEC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61" creationId="{3C43B721-FDEF-C212-9417-54E58682F7F3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62" creationId="{F2B3D080-5D5A-3306-74A7-B3301BA58A36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78" v="47455"/>
          <ac:spMkLst>
            <pc:docMk/>
            <pc:sldMk cId="2825979349" sldId="4190"/>
            <ac:spMk id="362" creationId="{F46ED1D9-EB7A-C742-B029-1B20CF9B8740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79" v="47457"/>
          <ac:spMkLst>
            <pc:docMk/>
            <pc:sldMk cId="2825979349" sldId="4190"/>
            <ac:spMk id="363" creationId="{9478D364-3940-57E3-9680-1FB40166191F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63" creationId="{A7DC87F7-DD16-332F-767E-093E2F71E17E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79" v="47459"/>
          <ac:spMkLst>
            <pc:docMk/>
            <pc:sldMk cId="2825979349" sldId="4190"/>
            <ac:spMk id="364" creationId="{04148953-A966-E2DA-C5F6-440DBBE13DDB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64" creationId="{CD186083-51FC-6C5D-C87D-1B9E1392C4AD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80" v="47461"/>
          <ac:spMkLst>
            <pc:docMk/>
            <pc:sldMk cId="2825979349" sldId="4190"/>
            <ac:spMk id="365" creationId="{291DB541-5D7D-6906-8DA9-CEAC9AF3264B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65" creationId="{7E57E141-7726-28B7-C610-16754EFD0F64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81" v="47463"/>
          <ac:spMkLst>
            <pc:docMk/>
            <pc:sldMk cId="2825979349" sldId="4190"/>
            <ac:spMk id="366" creationId="{86997358-F22B-4182-DDCB-BEF5F87D0758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66" creationId="{891B53FF-1880-F835-BA8C-291BD6F27CF5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82" v="47465"/>
          <ac:spMkLst>
            <pc:docMk/>
            <pc:sldMk cId="2825979349" sldId="4190"/>
            <ac:spMk id="367" creationId="{87DB1BB9-C336-EE4F-35B8-1ABFBCA8580B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67" creationId="{C9CFEBAD-0B31-7373-0A87-55F31CDBDE47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83" v="47467"/>
          <ac:spMkLst>
            <pc:docMk/>
            <pc:sldMk cId="2825979349" sldId="4190"/>
            <ac:spMk id="368" creationId="{70FD04BE-A05B-59D2-3CA6-877ED836128D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68" creationId="{DB544D2F-3E13-D923-BDEB-B1642C599CBE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69" creationId="{0A89BAAE-AF61-BC81-4088-241B2B13C457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84" v="47469"/>
          <ac:spMkLst>
            <pc:docMk/>
            <pc:sldMk cId="2825979349" sldId="4190"/>
            <ac:spMk id="369" creationId="{4F8DDD2D-7DE9-753A-8E9F-207F7DFE8499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70" creationId="{07CE544C-81F5-9A0E-C7BF-903198F75A05}"/>
          </ac:spMkLst>
        </pc:spChg>
        <pc:spChg chg="add mod ord">
          <ac:chgData name="Ryterski Finn (HNE US-MI-PB-BO)" userId="efff052d-68b9-4e8d-b65b-45dff653056d" providerId="ADAL" clId="{870BDC5B-2E94-425D-B3D4-696163FAE54F}" dt="2025-04-09T07:43:08.386" v="47471"/>
          <ac:spMkLst>
            <pc:docMk/>
            <pc:sldMk cId="2825979349" sldId="4190"/>
            <ac:spMk id="370" creationId="{DB1158C7-D983-75B8-9CAD-858D361EE261}"/>
          </ac:spMkLst>
        </pc:spChg>
        <pc:spChg chg="add del mod modVis">
          <ac:chgData name="Ryterski Finn (HNE US-MI-PB-BO)" userId="efff052d-68b9-4e8d-b65b-45dff653056d" providerId="ADAL" clId="{870BDC5B-2E94-425D-B3D4-696163FAE54F}" dt="2025-04-09T07:43:08.390" v="47475"/>
          <ac:spMkLst>
            <pc:docMk/>
            <pc:sldMk cId="2825979349" sldId="4190"/>
            <ac:spMk id="371" creationId="{30F18A55-7058-5F34-132A-31D7939BAD67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71" creationId="{BEB786FC-3289-1130-B643-48B79E0DFDD3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72" creationId="{DBF243E2-904E-3BC3-CB12-C974469E3C6F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73" creationId="{E4B7A2C1-2499-596E-24B9-78F777AF0B05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74" creationId="{24EAB438-65F4-6BF7-CD2F-04C909205FA4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75" creationId="{8326966A-A270-924C-5743-480092742511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76" creationId="{A1A956CD-9C29-FE56-CE9E-C14B2472E2ED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77" creationId="{3094E3FF-75F3-57A0-3053-A24F1F38EA8A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78" creationId="{B772B10A-0BF3-D582-E34B-01495216F803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79" creationId="{37432B60-C1E8-007E-E1C3-3D6B18D10F25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80" creationId="{3670E79A-E382-7C73-EC30-936E0BBF883F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81" creationId="{DBD7F041-0E28-1002-E7D4-F373FF5CCF33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82" creationId="{07CE9924-9C28-3B42-4D3C-3349CCD5D198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83" creationId="{35CB63E4-A51B-D8B0-45D0-05FE01643005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84" creationId="{023A2423-2A02-885E-CED5-8BFC3DEAEF8C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85" creationId="{240FFF32-59C6-4C4D-06D5-D5CCEFD6D7F5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86" creationId="{E0AF23E7-A7CC-A9C8-96A4-2785F82318DF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87" creationId="{724BFDD2-A70E-1D17-E734-A5A6767F7DC0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88" creationId="{3DC5D77D-E915-FDED-6D20-9F27C16600A5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89" creationId="{BB85FF21-6120-9467-7A56-30B832808347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90" creationId="{C43E501E-C2A6-A666-0716-D1802809B2F1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91" creationId="{4BF99E25-4B41-2817-89E8-87FFD466974F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92" creationId="{4C90B05D-6308-F617-A450-5AAB832505B1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93" creationId="{5CA0002C-DBE7-678A-892D-2756D3215654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94" creationId="{404C7408-F6EC-FCDB-0869-0B6CD3604813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95" creationId="{914D7536-1FA9-76D5-075F-1A500C153664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96" creationId="{64FF5BE9-D834-070A-A6C0-B30EE59DB422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97" creationId="{0D5F675C-63B2-9462-A5FC-4B59F340630E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98" creationId="{27B437D3-840B-1947-B5AE-4FCB1993C332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399" creationId="{725E9922-C9FA-A828-E531-B50E1ADFB0A6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00" creationId="{E192972B-342C-9CB2-60E4-13081FA5E34C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01" creationId="{927C0610-8E4A-9ADD-9A0A-5AB2E08D4CD4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02" creationId="{81A22517-06BB-D3D5-3611-549420486014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03" creationId="{4A77B377-12C0-0A6B-D71F-F9D6BB6EFC38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04" creationId="{E321AB4B-6807-D48F-2CD9-E191AAFE1F96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05" creationId="{E808D365-54FE-B157-081F-46DEB4326738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06" creationId="{6B2B1AC9-FAAB-FFFF-47D7-6B8DA4CFA736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07" creationId="{A389FDD3-23C4-C037-E3F2-6C1EA187C16F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08" creationId="{D6F5FBE6-2264-ED3D-BB6C-A1001D8F621E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09" creationId="{55941C68-7539-A988-230C-1417FBFB8D2B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10" creationId="{444EA471-95F3-3589-3F80-7F0A9DB21C43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11" creationId="{9277C1A3-6C8B-6225-B944-342079CB6532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12" creationId="{B68EFF8B-F742-88E7-A8D3-ACF44E0D3FD8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13" creationId="{C77B9221-044B-974F-E5CD-2DB2B0634416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14" creationId="{7DBAB673-BA06-5E96-12AD-5AF1A0480C14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15" creationId="{5333897D-0A89-9915-1EF6-6287F4773BEA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16" creationId="{912ECF64-1644-833D-7157-29605C2BF9FD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17" creationId="{98906844-7D64-7D43-0B6C-947452A886FE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18" creationId="{7A1BE7CD-8E31-0126-4D51-903FF6F9FD6D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19" creationId="{1D0FFFA4-B563-1742-08C7-F1F267F8EEED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20" creationId="{A3B6BAA1-B6B3-D405-2C31-C559718DA29A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21" creationId="{C5BF4045-3B5E-120B-0017-7FE4EABFDA07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22" creationId="{2503C806-514E-A5BE-FD69-C0CC46137AEE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23" creationId="{0992E086-14F6-465E-A616-D0356E33D505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24" creationId="{12E650BD-B204-7DDE-3622-754F0BDCBFF5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25" creationId="{84CA9E83-CE4B-D850-E9A4-DC62CD6F37C8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26" creationId="{23A006CB-FDB6-B404-5D16-B483207E4DA1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27" creationId="{993FFC35-DA92-37E7-7AE1-41E899373FD5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28" creationId="{D2853156-C339-D02B-FD61-2FEB4904D098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29" creationId="{BA5E2131-3F9F-D250-EEF4-D5B20B198E9E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30" creationId="{B4099362-3209-B05B-CCCC-8D22E6D01A82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31" creationId="{66DA24E7-6829-8BBA-480F-8E42F2FF849A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32" creationId="{929A75F0-DE7D-DE81-D169-B2216469C4CC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33" creationId="{44F9A9F5-E5C0-43A2-ED97-E39E3A7F63F9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34" creationId="{0783AF5C-DC51-276D-74F7-527C4EE90B8D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35" creationId="{F5817B08-DF51-FC2F-45D3-B1CBA97CA3E2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36" creationId="{235B178F-41CF-B34C-897C-FD69F0B4ED80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37" creationId="{18E1DB8F-9D53-9E17-41CD-6A4E643D7FC6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38" creationId="{104D4A7A-CF18-5DEC-FD59-CA2111015BA1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39" creationId="{F31EF810-7FCD-C09C-9288-3AD7A2BF0EFD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40" creationId="{A1D0317B-97BD-8F81-3F73-213FBB7FE6B1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41" creationId="{FE0DE8E1-EC26-4AFD-1AA6-864CE1C1F416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42" creationId="{9D7A46F5-DE0F-0B2F-0902-8DAF43C4DF68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43" creationId="{D74041F4-2C8F-B18D-C2F9-6DA2547A5D84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44" creationId="{93B3FB40-E796-58CE-B8A2-8BB6C6A8B8EA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45" creationId="{598C05A1-FFD5-B63C-3713-1CB4E30434B2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46" creationId="{61879E16-7847-9203-F62E-F602344D882B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47" creationId="{7F674094-E80D-A346-1EE8-3781391B821A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48" creationId="{EB065A6D-DC8A-96F6-1BB1-99534CBFB5BA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49" creationId="{9D12B5DE-6ED8-AC12-EDED-2D86A73E65E4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50" creationId="{B7019D03-7EED-73F6-BE42-67694AAE73AF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51" creationId="{D8382BA3-E6FC-7C8C-F120-E9FAD7E04A87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52" creationId="{E3B1CA00-9293-7221-E2D7-6F5A0347EC77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53" creationId="{807374F8-8EB6-62E1-07D7-B00B220EE3AC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54" creationId="{C5AB9D7E-3E9C-C958-9E14-0A293BAA8BF1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55" creationId="{AD97CE93-C0D9-AAE7-062C-81AB79A90DD5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56" creationId="{DCCC127D-819F-8D39-968C-65630FB21AE8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57" creationId="{331AA684-667A-E810-1C61-0B986F4BE8F4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58" creationId="{DA935325-18CD-9C72-2A87-59D8AD1C4B39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59" creationId="{5229A4B7-58BB-798D-5DEF-9F539CD1F81E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60" creationId="{30D2ED2E-6718-AF48-DD43-FD1F54CD1AE3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61" creationId="{596F93B7-078C-88E2-B510-97BAB12B2509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62" creationId="{89445B81-F7F3-0FC7-62E7-3A0330749A11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63" creationId="{71E09428-009F-056F-BDA3-2246FDBD5406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64" creationId="{0DB51485-307B-29AB-2D98-2C3B495AE8A9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65" creationId="{FE562E6E-BFB1-B865-514C-BAE955CBAC5E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66" creationId="{74011B9D-C9D9-9041-34E4-947E17B71996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67" creationId="{31AAA461-0C40-C7B8-3A47-6CB0CA6CEC7E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68" creationId="{06B4F73E-6249-0F8B-9F6F-8F065D542E84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69" creationId="{DDC63803-BD7E-FC1E-72B3-039DE0776ABD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70" creationId="{6C89FD33-3990-263B-B47A-1033AD17EB34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71" creationId="{B26B96D3-351C-B678-FA70-B4FC47BCBC0E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72" creationId="{AF298C43-6A41-2858-CA36-9965FC96C588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73" creationId="{B53195C1-2252-914E-B098-B2B5544DF045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74" creationId="{C8A5DAB5-5704-8E76-BB97-26C7E158773D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75" creationId="{AD5F1AFA-5945-71E6-90F5-3021EE52FF7C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76" creationId="{AF5EF50A-E683-E750-B455-87C44644D71B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77" creationId="{D238EF7B-D539-4114-51BE-AE753A3226D5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78" creationId="{58B4F99F-5DA4-78A3-C088-D5AAD769AA2E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79" creationId="{18C5922D-3DA6-95D8-1A09-F5B771AE0C32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80" creationId="{381FF9A7-584C-7331-9335-2BB0D181B4CA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81" creationId="{E2F7D84A-05DC-89D9-6436-48C6D7072E6E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82" creationId="{2BA9D683-532F-B5B3-AEC1-E00F238B1EF3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83" creationId="{1D6A590C-C399-7823-AA1A-74A3D5BA3E71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84" creationId="{A60C35D5-E413-2149-3BF7-10885EA0FD63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85" creationId="{64E8E360-E7C6-63F2-1064-87DF7E696DB8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86" creationId="{72ECE52E-1DB1-5395-C345-9ECEFE6140B4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87" creationId="{D0667D36-B205-CBC1-C071-03B2079C09D0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88" creationId="{C5FE3725-C768-38BC-E438-7ECC68A85259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89" creationId="{BC507F9E-6B87-E0B1-1B5A-F9095A6D4419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90" creationId="{D4992FD6-7879-5C72-CCA2-57371E924599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91" creationId="{DF078B49-A2D0-9720-A3B0-BF3E5C9FA01C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92" creationId="{FD55E72B-1338-B151-00B4-E70C2E86531A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93" creationId="{23A327C7-F605-937D-1514-22A93F5178FA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94" creationId="{F412482D-6036-8625-8E75-85139D9174BC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95" creationId="{623F9303-109E-B480-3416-E4BF970FFD88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96" creationId="{1AB60A26-CF12-0F3A-9628-23D97F582661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97" creationId="{6B6C4E4D-B63D-FE14-FE7C-AF41EA927FD7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98" creationId="{FA33097A-FFA3-0644-9DD6-7874034502C0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499" creationId="{061367B8-7F0A-8E2E-3CD2-765072ABCE85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00" creationId="{1905534C-A38C-F0AB-5F10-EA72E704F7AC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01" creationId="{10732610-A879-9D9E-7152-8A4CEF4AE64D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02" creationId="{1073B94E-BCDC-FDB1-D853-702E4F439A59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03" creationId="{FA2BDB1C-BCC0-720B-90DA-7846E00751C0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04" creationId="{7DE974B7-1AFD-94D7-0027-12D876CA01AC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05" creationId="{4931C8AF-3ED1-2EB0-80D9-395968574F4E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06" creationId="{6BE2BE67-2442-95D3-9450-F1956C7C9AFC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07" creationId="{D67C97BC-F9D0-0E47-F646-194A93A4749C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08" creationId="{20387707-4CC6-EE49-0F39-96CE75C5CE4B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09" creationId="{13F39545-E4B6-47F5-08E3-FC2DDE3007CF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10" creationId="{F54380F2-DB32-2BED-388F-15920CA17142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11" creationId="{E59570BC-FD7B-4910-C947-E0934037ABB2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12" creationId="{9ECFAC11-4E96-A601-10A9-5A85D25C91B4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13" creationId="{BA01C771-6AB4-4C13-4BAB-66504D4DF7FD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14" creationId="{3547DB47-19C5-62A4-3BBB-58320B96A638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15" creationId="{107E6706-E63F-5BA6-64DF-988B151AE61B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16" creationId="{71DF0A6A-1E08-CD72-C565-2DEE3D1EC525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17" creationId="{48350B73-F880-C108-3192-8562107BEF79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18" creationId="{7A669700-BE0E-E247-113E-88EB5596A38F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19" creationId="{E2F93FCE-B1AF-30C5-565D-8D6D54DF68BC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20" creationId="{3B0DF38A-14E3-D78D-8B16-D5E1392F3249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21" creationId="{DF7D0627-125D-3E60-45BA-F6ED87E9C81F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22" creationId="{C097A03E-F4A7-9A37-D0BB-29C69AC55A2E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23" creationId="{C5A3D50F-DC4E-8031-EADD-5409606B1D77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24" creationId="{2E3E127C-F16F-1165-29ED-AC8EB82CC32F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25" creationId="{18FD85A1-F964-601E-91EE-789F8942870A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26" creationId="{C2AC0AB6-4B1C-84C6-B244-1BA1AECEFDEA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27" creationId="{0A4A3F35-9B39-8709-000B-73F17A6AFA43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28" creationId="{C718A5CB-6EFF-F905-1134-24C99D77045B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29" creationId="{3B269FCB-939A-429B-BBD0-AB9C6E32BDDA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30" creationId="{435EE5B1-07EA-DE28-9E42-792A7144DDDF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31" creationId="{61B86335-DBA4-9729-7763-A0ECEC64B04D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32" creationId="{F33222A9-5A80-8D2B-F3C4-ADB74C2AAA8C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33" creationId="{46E30170-61A5-484B-A6F5-9DC0B77222A6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34" creationId="{6C4A4A8B-4684-BF4E-0AD8-0F7F06492C34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35" creationId="{D2217C6D-6236-D650-A9C9-348DAA7BE616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36" creationId="{EC9D7EEA-05BC-2B08-C32D-330C0DB6E223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37" creationId="{B02574B7-654A-AEDE-4FEE-7D592FDBF316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38" creationId="{F3278FDF-5075-A21E-C6F0-6608D53A5968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39" creationId="{965234E5-5CB3-01AF-3319-0D64B42967F8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40" creationId="{943B1300-C81E-1AF8-1C67-ADBB38A1500B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41" creationId="{84ED8ADE-ADB7-3D37-F610-8ED6359C2B3F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42" creationId="{9E04BDF1-3F5A-A66F-92CA-AA1F47564789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43" creationId="{B019BE2A-047C-BFC1-EF25-AEE96DDEDD6C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44" creationId="{75246CC8-696D-448F-4F77-B438C5D002D8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45" creationId="{18C4D159-EE64-8B9B-4955-CF8D7D515AA4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46" creationId="{BB228A17-7FF0-15F6-8F7A-429C59A4FB7D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47" creationId="{59E32A67-6E86-351C-CA81-279993D8EDE6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48" creationId="{56506734-2038-3B74-9D85-37A7AEA213F2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49" creationId="{9EED5401-C3F6-C927-E253-D513C04B18B9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50" creationId="{46C313CD-2A8E-BA9C-649B-2CA68EE04271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51" creationId="{86ADC331-604F-1B89-1A29-0AB62C31DC54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52" creationId="{0987197C-2AEB-C2DF-AE2E-2FE21D9C39C3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53" creationId="{F5A39896-49D9-18CF-EF0E-061867146F47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54" creationId="{B8483C70-11E7-184A-8D96-11197F821BC6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55" creationId="{4EEDC7E0-7C0B-5454-AF52-591C8461C4AA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56" creationId="{2EE78876-3598-252D-3B7C-2B73B78B8B49}"/>
          </ac:spMkLst>
        </pc:spChg>
        <pc:spChg chg="add mod">
          <ac:chgData name="Ryterski Finn (HNE US-MI-PB-BO)" userId="efff052d-68b9-4e8d-b65b-45dff653056d" providerId="ADAL" clId="{870BDC5B-2E94-425D-B3D4-696163FAE54F}" dt="2025-04-07T08:57:19.756" v="31726" actId="14100"/>
          <ac:spMkLst>
            <pc:docMk/>
            <pc:sldMk cId="2825979349" sldId="4190"/>
            <ac:spMk id="557" creationId="{836E1677-C125-F6E5-C762-3C4B1ADCAAC9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58" creationId="{50C72DC8-DCC5-82BD-1E80-3E1A6312CC22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59" creationId="{849BF817-E872-43DC-3ACD-5E2FF75667EC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60" creationId="{EFF036A2-58E8-AC57-0072-BB540716177D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61" creationId="{34ED2830-6B1B-AC3E-5780-59AE365E216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62" creationId="{A3CB4955-60E1-2625-C887-6CF7756E1C4E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63" creationId="{49CFF480-9A02-A3CC-9405-97D33A39BF2F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64" creationId="{A39672A2-0939-2D04-C692-572C915C2CF5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65" creationId="{337DCF4B-728C-4F93-9CCF-FB34654A394F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66" creationId="{54BA718E-3A24-6908-4E6C-97AB5D72D0A8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67" creationId="{E01DE1C3-2EAA-B7BE-948E-6603F2134906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68" creationId="{1E0AD40F-0198-86C4-DB6F-83240CBF504E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69" creationId="{6FCBEA03-F247-42A7-E222-325767EF5DB8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70" creationId="{7B8CDED0-24B2-884B-4077-F48A646D4CCA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71" creationId="{E84905FA-EBA5-05F8-F1BD-07D0CF80ABF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72" creationId="{144DD934-3AEA-F37F-06E9-CBD49A168C86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73" creationId="{97E26AE2-4D48-3B60-48F5-0373330E80D1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74" creationId="{12238A7A-84A9-643F-CD17-B2B89E2A01C4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75" creationId="{9195DA93-A89F-6A77-7443-4BA759984AC9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76" creationId="{774AB0B1-4DC6-EDBA-460D-B61AAADC4B2F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77" creationId="{1FD21723-AF5D-BBD9-3743-697B5B2D61A6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78" creationId="{6A0E732A-B9B7-9314-BF8B-0E308BA5E80E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79" creationId="{E3FC1633-0F25-0104-F935-4F984C51EC68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80" creationId="{1265392C-ECD8-10C5-3650-B35D6304E9F0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81" creationId="{9883001A-263C-836D-951D-40B6DA215BF4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82" creationId="{E784295B-5358-6242-0C64-BCD2CA9BAD25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83" creationId="{7E83EE5C-7A10-F5E1-664B-331B278EFB12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84" creationId="{FEA82673-64BA-0F8A-CD29-1BA8AC1FE68B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85" creationId="{034CD182-B9E7-ED01-E82D-5743AE720F2E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86" creationId="{162D2E4C-1AB9-A3E0-D513-1D5ADC3AC9AF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87" creationId="{6AC55B61-5493-631F-51A2-24B8EF9C8988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88" creationId="{190FFCFC-D341-5F5D-8816-686FE273DE68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89" creationId="{F694536C-3273-FAF0-D6B7-453E4BD05670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90" creationId="{87F3C2FF-C39A-51E8-4C68-171E8B7D56DC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91" creationId="{89471F01-0370-02D2-A27D-B45933672DD2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92" creationId="{1F09E30B-989F-1714-3786-217C27068216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93" creationId="{D4E75EC4-1E2B-1B32-3CB0-8FBDF9D3E7A8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94" creationId="{23F4619E-CCFD-C834-5311-C48166182DB7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95" creationId="{9CD69270-9C91-B829-DEFD-550937A85FE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96" creationId="{56003819-FB1B-FBC5-86E4-94E615AA6E4D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97" creationId="{224E81DA-8511-DB1F-4FF2-605FAF5580DF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98" creationId="{9FD8E3C0-22D6-2F54-AB7C-C3A61B1B77A9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599" creationId="{FAD52A85-393C-8EAD-86CD-DFD4D7D65676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00" creationId="{38487C04-57CE-E70B-015A-A611D1AEA7DF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01" creationId="{9A34820F-E659-3918-F600-2B7AC806B1FB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02" creationId="{AEE61578-7E03-AEF6-1817-D2E6DF34EABB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03" creationId="{B64BFF5C-92E2-731B-E65F-4CDB7F579A15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04" creationId="{48B568E1-20CD-D310-2831-87D23D8DF2B1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05" creationId="{DAE982F3-3287-023B-3D05-6E6A8951C6FD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06" creationId="{0C32A4ED-61AD-4FDB-191C-D700A0FC8C41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07" creationId="{CA0CEC33-662C-90D9-478C-E8B06BB5561B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08" creationId="{754589FE-AC6C-6072-5FC2-1ECF13D3D20D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09" creationId="{6DB0F237-1CA7-FE61-D056-FF6741F6A5E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10" creationId="{055D50F3-F943-7CE2-EE9E-A7884707A847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11" creationId="{8AFB4E27-12D2-5E67-E484-0E509577550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12" creationId="{D4F2E3EB-0156-CE95-7F47-D1ED3ACD7590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13" creationId="{71A2E6B8-05DB-4B42-DE42-0B8D98C8ABBB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14" creationId="{9CCFF700-4BDF-92EB-DCB4-A5BA22B76242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15" creationId="{DC916BF3-856C-E4AD-9EF4-2393EA51D03A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16" creationId="{33F752C3-E55F-32C5-712F-6D4B6AABE9AB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17" creationId="{0BDE3B44-37AF-41E9-301A-6D006B52FBA9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18" creationId="{88B98219-FE06-EDBD-2EA9-5B248555F32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19" creationId="{33D89433-1C96-12A4-80B8-2D3C8F510535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20" creationId="{40FB6F30-002E-8472-2EE4-530E3F54D76E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21" creationId="{3416CFEC-C438-B244-F737-740FEF698230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22" creationId="{6468501D-E755-1AE7-86BA-630779C2408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23" creationId="{10FBC661-178E-FE29-F7F7-8B48D6C75CD9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24" creationId="{4B9244F8-6E39-70CB-369D-BFCCA49BDA26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25" creationId="{A43E5039-DF03-DA8E-BA34-C10817BB9FFD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26" creationId="{CA8931A9-6FBD-B346-D0F9-70EE88BB2E39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27" creationId="{2F95C634-9A5F-3EEA-A781-C9E5BF771439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28" creationId="{801A5CC0-75A7-0AF8-9344-A8F6D35A8C9F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29" creationId="{3F32A946-CB2D-59D3-AA2B-B18DBA9B3BA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30" creationId="{DFD2715C-4A3C-EA84-0398-F061E2691F82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31" creationId="{ABD9F2EB-ABA8-ABE5-8487-0C0023009FBB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32" creationId="{AC843549-E0C8-737F-6FCD-641C7108E350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33" creationId="{FD626EB9-722F-D63B-D87E-88BB84278360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34" creationId="{A646E9BB-E944-CF9A-0C4B-9DD041FCD047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35" creationId="{CDC32FC8-D48A-4662-5361-909C91EDDE4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36" creationId="{E27C8888-CA6E-642C-E271-DB83D4534348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37" creationId="{29E81C60-7F51-9B23-CAEC-F6A88907DCB0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38" creationId="{FE0F5F15-0037-8781-DBF7-55842CF36630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39" creationId="{AFF29874-D3D6-0551-F824-6451ABC53F6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40" creationId="{C30B20BF-4497-4E70-7937-96AB1171A5B9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41" creationId="{2F8AE1BF-9CF7-A080-99E9-8D5C1DEED046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42" creationId="{8F712A8F-BC6D-791A-7C96-448E4F9E4299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43" creationId="{FE3658FA-13FC-270B-DB05-5F2E383B7037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44" creationId="{F56A47CE-BE5E-A5D1-5456-39A0ADD1B13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45" creationId="{0AA4DF1D-2AB5-63C4-A746-EF010306A432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46" creationId="{C07B47F3-8A39-F0F0-DF52-214C62FBD54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47" creationId="{F094BE68-F5C9-67A2-4004-622E90086BFF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48" creationId="{097A53D7-60EC-DD62-3D65-F1F57B34F67D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49" creationId="{9E2CEE22-D436-4377-A700-1CDEE0C66CCB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50" creationId="{D35989D7-413B-1B64-8BCE-CB56CC3E707D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51" creationId="{74284A99-E749-1AF2-AA58-FFA65E791828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52" creationId="{694808DC-95F7-0A99-0EAA-691E96CE48BB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53" creationId="{0D25C6C2-5A7C-AA4B-A532-F73E2DE2B9C8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54" creationId="{E3957D7B-94C2-8495-8C2E-6ED29717BB2B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55" creationId="{308F8564-7FD7-B906-9A85-72F419AAB488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56" creationId="{59662B14-DC42-E54E-B2D3-9C61E98202E8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57" creationId="{2A789441-1B70-9B6C-1B6A-6010D529189B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58" creationId="{BBF55288-BE2F-DE20-300F-2C722E5C99FA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59" creationId="{318E2622-52D9-F99C-0684-E7C482DE4B87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60" creationId="{387912F8-B747-78DB-EBB9-9762BF84492F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61" creationId="{BEFA5E56-D7A4-2BFA-BA49-EDBDEAEF768D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62" creationId="{8E11CF11-4C70-455D-265A-E04D7C5897C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63" creationId="{0AE40074-4F78-37BA-63E1-1B6B3A1A58AD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64" creationId="{94CA8EBF-5E0D-FDFB-8021-1DC3EDED3151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65" creationId="{5EC268A6-209B-F29D-7AAA-5D3C4E66BA6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66" creationId="{1662B5B6-CCAD-5DD6-3B31-04989A611242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67" creationId="{984E364C-6C68-7C1C-0429-C6E961170D1A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68" creationId="{1F0936BE-1F9B-BFCF-EF7F-AF2D438AC40D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69" creationId="{A6AB31FE-3CC8-FE2D-8C2B-A9821D93BED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70" creationId="{95485F9D-88C7-38FA-DC2D-6BA4C79CE428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71" creationId="{8B947758-D6D1-3EFB-F1B0-7A5DB08F1C1E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72" creationId="{7AA0D778-D2B0-5579-B189-092064E247E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73" creationId="{F56BD6FB-02CF-E436-05B1-584C213F19EC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74" creationId="{EA89AD13-24AE-4293-3230-9AC214A7F64B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75" creationId="{9632DF40-2E68-1364-ED31-3BC57BE44A4B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76" creationId="{6CABCE29-9787-0EF5-29FC-F9CCE26F40FA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77" creationId="{F23EC230-E55A-80BE-9B98-4FE9618B56D1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78" creationId="{FC4EEEF3-EAC5-DCC9-6E32-6DAFD0FAD92B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79" creationId="{3B99C7E1-72DE-CB28-5E3C-BB56E475A2B0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80" creationId="{ED82C529-0F2A-A568-E7E0-2FEE26832849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81" creationId="{EB1F2872-E913-E055-1A16-9C929EAB9F41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82" creationId="{B26E354E-9F65-0175-A4E2-B4B4FC4426C1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83" creationId="{28F1C015-647E-454B-2125-AFDD3EC6B8C2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84" creationId="{665DC7EF-B3A5-1D5F-26F9-8D72188BD58D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85" creationId="{D4849D77-62AE-8F14-7DA2-7333A30E5E49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86" creationId="{B103B97F-245B-515E-E9F0-AE093257BB6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87" creationId="{D3068A6A-00B1-8AD0-4871-1EFCDAD15875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88" creationId="{1C93ECA7-506E-99E7-5A6E-608A421C2C04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89" creationId="{6AFB4CD6-F50D-7471-02D5-B7E11663AA06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90" creationId="{0D9825FB-758D-D597-4533-824D6797574F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91" creationId="{12553DF7-7367-6757-0254-28F5A8B7748A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92" creationId="{ED68B54F-EB36-920B-0858-28E9227E95F8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93" creationId="{80C3CD74-6D61-D233-3AFF-C8CC4AD5976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94" creationId="{86DA1913-98CA-8F4B-DFD9-72E1062DE9DD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95" creationId="{08AF01A6-5F00-DB6D-20C2-70D0E98B058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96" creationId="{C10B52FF-D733-C450-FE9C-12A5DEC6C992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97" creationId="{9D977426-C037-E5EA-BAF3-660A8B61761B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98" creationId="{F18DCCAD-870B-FD06-411A-97AF903A8990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699" creationId="{31D79C25-3F25-1CDD-FBFE-D26BFF61D0DE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00" creationId="{91FC93E9-B723-98E3-57A8-0A073B2FFBDA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01" creationId="{0DF33D87-7F74-BD95-C780-D3F6560AFC92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02" creationId="{31957B67-835B-1808-0B05-F856047F4B58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03" creationId="{119D5DC4-A003-1515-E697-5A70A77CE296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04" creationId="{4EE1F976-30DF-A626-6D90-8AAC3143F5BA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05" creationId="{E0954877-4E4E-602E-1A15-530890A956BF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06" creationId="{F71D7D94-F8DD-5D5C-DAB9-78764D581114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07" creationId="{457ED265-9464-63C0-F377-C38AF4F76B8A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08" creationId="{B185B47B-3E23-8532-3F30-3FCAD97EF42E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09" creationId="{455B393D-BA9E-DD5E-0259-3152DFE3EE05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10" creationId="{E2404980-EAC4-B0F9-CFDB-A52725D7C74D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11" creationId="{B47C37B0-413A-FF1C-5163-7C5BB2ED2329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12" creationId="{781682E0-E39E-0B81-E2F0-CF41DBEB3EEF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13" creationId="{10D6420B-84C3-CB11-61B3-FAD621A12707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14" creationId="{6F814E83-3034-777E-7072-A7448CE3417A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15" creationId="{36736D43-654D-5475-89A2-7C984AD1DDB4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16" creationId="{14EE7FE5-AE2F-9BF8-E968-D42198DA025A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17" creationId="{751EE560-541C-9395-A973-FD9283228B64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18" creationId="{3E9C9908-B4B7-603A-9F26-9C405BF4431A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19" creationId="{0F60AC72-665C-D823-5F07-F9F6AE6F82EA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20" creationId="{2DEC8DFD-D517-577C-3AF7-AEA3B9631737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21" creationId="{30DFA15B-C47D-43BB-B9BE-DED5F32129D1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22" creationId="{0CD517BE-39B9-9E39-68B1-9F33ED24FBD7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23" creationId="{D8D22629-B10B-EC29-1CE4-758459F49DD4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24" creationId="{FFE29B14-1D33-1365-B855-55B356C0D71E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25" creationId="{4AD5D90D-3D21-E45B-02DC-50F02CBF5401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26" creationId="{F996688C-E4E4-27B6-EFC2-3B5EDA2284C0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27" creationId="{B6BEC27D-6659-3E8F-2046-B4E589AE35AF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28" creationId="{6E9F7035-8491-A410-C9B6-D2BF64B60F04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29" creationId="{72A67584-609C-E2E4-F92C-D8C9076F5065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30" creationId="{A0188E5A-AC26-5AFF-D5A1-BFB36C1EB02D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31" creationId="{95BF4629-7DB9-5CC1-0E81-BA881375173B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32" creationId="{A1327882-E4B7-9B06-13D7-86EDF68089C7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33" creationId="{FFF7A3ED-37A2-8A52-5624-CB695043959F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34" creationId="{C8E09D98-C9E5-A6EC-AF2E-44EB483E1CFA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35" creationId="{83DA16BA-9829-2FC7-9CA2-D327E8694E0C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36" creationId="{5C605104-4E7D-97C0-37E6-2DCB43340D42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37" creationId="{B4E6960D-C944-1EAE-987E-A96EADE27FB6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38" creationId="{421B4968-083B-A977-91D2-9EA594C799D2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39" creationId="{06F43441-5E93-B5F5-5728-F18DBCFC563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40" creationId="{C54A178B-ACE2-C659-41C8-44DB1327E918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41" creationId="{FF447CF1-A2B3-7BD9-0DB2-DE3016CF46A4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42" creationId="{ADA7EF3D-B674-C9D5-B6CB-B98960012CB9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43" creationId="{F1FD90CE-DCF0-0DD2-2F13-81A0B92A49AB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44" creationId="{1D7DA625-3216-B4A2-3475-0A5B5D317A5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45" creationId="{4F5C18F6-0A74-0C38-C000-4A1F8BD8B99C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46" creationId="{5DC9A1F1-7FC0-C42F-71A3-2B35A686E500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47" creationId="{C9C06D92-F986-A5FD-9C52-1858A8CD38D5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48" creationId="{1D234FC7-E59F-3D96-A6B6-0F746B464DB4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49" creationId="{23F5AF74-DB0C-6BA7-2F49-7172AFD4B7CA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50" creationId="{8068717B-E233-6367-30EC-BFCD1BE23519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51" creationId="{8B06E819-4DE9-DEB3-7412-00147C11E980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52" creationId="{66BEB394-034A-84FA-3755-420A572EBD8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53" creationId="{443C708D-88BA-A49B-A4D1-14999FDA36A5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54" creationId="{95E08F36-32A1-6411-6126-B5208AFADECB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55" creationId="{245CA542-1999-EC63-7A29-E3B0F2C11F12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56" creationId="{6E669422-81CF-66C2-2B64-AAA8CAA98FFD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57" creationId="{1A43D12C-57D1-0DC9-10A1-7588C112D17F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58" creationId="{10C3743F-F514-E570-316D-C14F28605D1F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59" creationId="{FBE16655-DC4A-D421-2524-00F37AD75EB7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60" creationId="{59733A29-1CC4-1999-B38A-55AA5B30DBAE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61" creationId="{4526DD1A-04CA-04A2-A642-AB661B467A4A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62" creationId="{ADD98E32-E671-E322-F1F1-597B531EE64A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63" creationId="{20B3E043-2EB8-2CA8-49E8-A2E7403F7E11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64" creationId="{C58FF3A5-69F1-8F7E-38AB-6599F79028CE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65" creationId="{373A4EE2-8F28-CC0A-ECCF-C2383E657238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66" creationId="{337EE6A2-3A6C-F46C-8054-CC638651AEC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67" creationId="{80780EC2-C522-FE40-871C-89352B4A2319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68" creationId="{467255ED-38CE-0928-508C-45A9AC93235F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69" creationId="{77B1C7AA-20AA-EB88-6741-AEEABEC0D804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70" creationId="{E7C4DCE3-4349-C5E6-C46A-E0BA7BD1F6A5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71" creationId="{05C426E5-FA4D-15E3-8EA1-192361FFF096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72" creationId="{7FC7F846-4B5F-8FA2-DAA8-5BE4D3D28F0F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73" creationId="{8124AB03-1207-59BE-B198-DB81A936CC0F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74" creationId="{FD3317A5-EEA0-3F44-8347-E1B2B53594CC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75" creationId="{88E4451E-C3A4-FC4F-07DD-A2520D8B485C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76" creationId="{35018964-0A29-8B3B-821E-950A0A246975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77" creationId="{203ED9FE-FFD6-87F5-C134-140468AF589B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78" creationId="{B4A573B8-398E-3037-38C7-4196FE7FE421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79" creationId="{D6F5C658-CE35-6437-189D-8ACF11E2D178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80" creationId="{1372D7B8-7182-13AC-9CE0-853E23B35F1C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81" creationId="{5EA7C2D3-B96A-52A5-F5A5-C327E5B236B1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82" creationId="{103097A6-028D-918A-A6B5-F31B4C984088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83" creationId="{04379DB3-CDAF-043B-C8DB-082A71594076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84" creationId="{DED9954E-1E6F-852D-9088-173A876E9A5D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85" creationId="{E3AED27D-B248-BC04-06C4-D4AF144D5615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86" creationId="{A166CB48-817D-1AEF-4E5E-8A0BD2786BC1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87" creationId="{531EFA3B-0C8E-E441-3C95-9B96B192C065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88" creationId="{9AAF46B6-D23A-A426-39ED-39B5F7DDD1D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89" creationId="{61C065C9-C635-8004-9C00-71501C2DAB42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90" creationId="{3A0F7D49-F574-0B2A-D12A-B1F8AD4A9CE1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91" creationId="{965454AC-0FC3-7926-3BA9-B44DAC7DE75E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92" creationId="{7A341F52-6C42-6833-8EB6-C7B1539515D9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93" creationId="{0F21B706-2683-FAD5-0E17-A40C041F8760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94" creationId="{C40FB3E9-3DB0-487F-11DF-004A685251BC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95" creationId="{B2356E2E-9061-C209-AB90-166F03614D7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96" creationId="{ECF4F822-485A-4EA6-D1C7-F74C0989F7CE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97" creationId="{D11F1778-5B6B-E542-B0C8-9BFE29188E32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98" creationId="{9FA69ADE-263A-BEFA-6982-1E9B7BB07F75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799" creationId="{A2A992CF-6FB7-B22D-292C-2D29FE5DE109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00" creationId="{7B1AFEA6-B876-06B6-822B-E669A92D7044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01" creationId="{EE94D9BB-AA45-AD63-B2D0-CE45EE91518A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02" creationId="{AE7A256D-1F2F-339C-5F25-8AA23EF452CC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03" creationId="{131A6BDB-A456-1C84-2D16-B96B11CAB69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04" creationId="{D830A441-3B8C-E84E-55EA-F1E59F670B7D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05" creationId="{CB09A725-C2FE-68EC-EC82-6393A1E535F1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06" creationId="{C4F94FB7-8D8D-8ECE-1F49-89CD75EF516F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07" creationId="{9B4062D6-F03F-CEE0-E7EF-64492048D00D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08" creationId="{2F397DEC-0921-3BCE-A5EB-20A0B4985816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09" creationId="{E2D08B7D-4A1A-8179-E588-87916CFC1C22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10" creationId="{993D0B1C-4962-47B7-B90A-355B7DD7DF9C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11" creationId="{86AA68AD-0351-1738-A083-ACE37708BD0C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12" creationId="{7F71F7FB-239B-3A94-0192-03F53DD6D3CB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13" creationId="{C4A7EED2-855D-B5BD-BB65-9065F131DE1C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14" creationId="{77DAE3E6-9327-1DA6-8BA8-80A47692CC3A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15" creationId="{14577CE1-A6EC-3DB0-EF48-B33A62C85B53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16" creationId="{2A8B14B0-C67B-C98C-BAFA-3B726105F8E9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17" creationId="{AFA9104B-DC90-1B1E-8B6E-64FD1A8689B5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18" creationId="{EDE0246E-45EA-57D4-BF30-D7FCE66F3A70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19" creationId="{1E32C346-2935-2329-172D-A37A9EC95094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20" creationId="{5B765CAA-A85D-80CC-9780-E425A189315C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21" creationId="{6E894B47-365E-B2E3-06CB-EF7FEE7F79F4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22" creationId="{39B1911B-F07B-FC12-1150-FB6DC74C0177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23" creationId="{7A3D2E3E-924D-D26D-8999-76900B8D2610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24" creationId="{EFDE64F3-78F2-E963-4D52-9EEB5A48D1C4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25" creationId="{28B2472D-1B3C-A91E-B9A7-7D798E234FAB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26" creationId="{5F8D0C3C-B0EB-03C8-3AA7-4D2234D45407}"/>
          </ac:spMkLst>
        </pc:spChg>
        <pc:spChg chg="add mod">
          <ac:chgData name="Ryterski Finn (HNE US-MI-PB-BO)" userId="efff052d-68b9-4e8d-b65b-45dff653056d" providerId="ADAL" clId="{870BDC5B-2E94-425D-B3D4-696163FAE54F}" dt="2025-04-07T08:58:04.555" v="31736" actId="1076"/>
          <ac:spMkLst>
            <pc:docMk/>
            <pc:sldMk cId="2825979349" sldId="4190"/>
            <ac:spMk id="827" creationId="{F64B7E8A-6359-4FA4-90C1-B90BCE96C113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9:02:02.717" v="31773"/>
          <ac:spMkLst>
            <pc:docMk/>
            <pc:sldMk cId="2825979349" sldId="4190"/>
            <ac:spMk id="828" creationId="{BB978F19-E7B9-4FC3-60CD-7D09DBAAC152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9:02:05.139" v="31801"/>
          <ac:spMkLst>
            <pc:docMk/>
            <pc:sldMk cId="2825979349" sldId="4190"/>
            <ac:spMk id="829" creationId="{A01CDF9B-6AAA-EF6D-3C6A-59B63A5D99CF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9:02:07.112" v="31829"/>
          <ac:spMkLst>
            <pc:docMk/>
            <pc:sldMk cId="2825979349" sldId="4190"/>
            <ac:spMk id="830" creationId="{FB24D346-7665-0533-2E12-38F115605B3B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9:02:09.916" v="31860"/>
          <ac:spMkLst>
            <pc:docMk/>
            <pc:sldMk cId="2825979349" sldId="4190"/>
            <ac:spMk id="831" creationId="{3119DF99-B825-6B59-07FC-E3071A9401BD}"/>
          </ac:spMkLst>
        </pc:spChg>
        <pc:spChg chg="add del mod modVis">
          <ac:chgData name="Ryterski Finn (HNE US-MI-PB-BO)" userId="efff052d-68b9-4e8d-b65b-45dff653056d" providerId="ADAL" clId="{870BDC5B-2E94-425D-B3D4-696163FAE54F}" dt="2025-04-07T10:04:14.397" v="35257"/>
          <ac:spMkLst>
            <pc:docMk/>
            <pc:sldMk cId="2825979349" sldId="4190"/>
            <ac:spMk id="832" creationId="{1111A544-A817-0ACA-0589-DCDCE992D507}"/>
          </ac:spMkLst>
        </pc:spChg>
        <pc:graphicFrameChg chg="add mod ord modVis">
          <ac:chgData name="Ryterski Finn (HNE US-MI-PB-BO)" userId="efff052d-68b9-4e8d-b65b-45dff653056d" providerId="ADAL" clId="{870BDC5B-2E94-425D-B3D4-696163FAE54F}" dt="2025-04-09T07:43:08.391" v="47477"/>
          <ac:graphicFrameMkLst>
            <pc:docMk/>
            <pc:sldMk cId="2825979349" sldId="4190"/>
            <ac:graphicFrameMk id="6" creationId="{144BEA8A-C58D-05DD-CA12-2C11FFD20C3F}"/>
          </ac:graphicFrameMkLst>
        </pc:graphicFrameChg>
        <pc:picChg chg="add del mod">
          <ac:chgData name="Ryterski Finn (HNE US-MI-PB-BO)" userId="efff052d-68b9-4e8d-b65b-45dff653056d" providerId="ADAL" clId="{870BDC5B-2E94-425D-B3D4-696163FAE54F}" dt="2025-04-03T06:40:04.253" v="78" actId="478"/>
          <ac:picMkLst>
            <pc:docMk/>
            <pc:sldMk cId="2825979349" sldId="4190"/>
            <ac:picMk id="26" creationId="{11C223F7-CCD0-D8FB-B20A-BDD23E9B1F4D}"/>
          </ac:picMkLst>
        </pc:picChg>
        <pc:picChg chg="add del mod ord modCrop">
          <ac:chgData name="Ryterski Finn (HNE US-MI-PB-BO)" userId="efff052d-68b9-4e8d-b65b-45dff653056d" providerId="ADAL" clId="{870BDC5B-2E94-425D-B3D4-696163FAE54F}" dt="2025-04-09T07:43:07.956" v="46739"/>
          <ac:picMkLst>
            <pc:docMk/>
            <pc:sldMk cId="2825979349" sldId="4190"/>
            <ac:picMk id="28" creationId="{26A2885C-7027-0E41-DF98-72C4C5ED39CA}"/>
          </ac:picMkLst>
        </pc:picChg>
        <pc:picChg chg="add mod">
          <ac:chgData name="Ryterski Finn (HNE US-MI-PB-BO)" userId="efff052d-68b9-4e8d-b65b-45dff653056d" providerId="ADAL" clId="{870BDC5B-2E94-425D-B3D4-696163FAE54F}" dt="2025-04-03T06:59:32.897" v="924"/>
          <ac:picMkLst>
            <pc:docMk/>
            <pc:sldMk cId="2825979349" sldId="4190"/>
            <ac:picMk id="75" creationId="{17A5D090-1FEA-E74E-7682-67225C27D05E}"/>
          </ac:picMkLst>
        </pc:picChg>
      </pc:sldChg>
      <pc:sldChg chg="addSp delSp modSp new mod ord">
        <pc:chgData name="Ryterski Finn (HNE US-MI-PB-BO)" userId="efff052d-68b9-4e8d-b65b-45dff653056d" providerId="ADAL" clId="{870BDC5B-2E94-425D-B3D4-696163FAE54F}" dt="2025-04-08T14:12:36.338" v="35413" actId="1076"/>
        <pc:sldMkLst>
          <pc:docMk/>
          <pc:sldMk cId="1199229873" sldId="4191"/>
        </pc:sldMkLst>
        <pc:spChg chg="mod ord">
          <ac:chgData name="Ryterski Finn (HNE US-MI-PB-BO)" userId="efff052d-68b9-4e8d-b65b-45dff653056d" providerId="ADAL" clId="{870BDC5B-2E94-425D-B3D4-696163FAE54F}" dt="2025-04-08T14:10:28.705" v="35374"/>
          <ac:spMkLst>
            <pc:docMk/>
            <pc:sldMk cId="1199229873" sldId="4191"/>
            <ac:spMk id="2" creationId="{6FD1DFA5-42F9-B695-7BDB-740C19156CCB}"/>
          </ac:spMkLst>
        </pc:spChg>
        <pc:spChg chg="del">
          <ac:chgData name="Ryterski Finn (HNE US-MI-PB-BO)" userId="efff052d-68b9-4e8d-b65b-45dff653056d" providerId="ADAL" clId="{870BDC5B-2E94-425D-B3D4-696163FAE54F}" dt="2025-04-07T08:31:23.409" v="25410" actId="478"/>
          <ac:spMkLst>
            <pc:docMk/>
            <pc:sldMk cId="1199229873" sldId="4191"/>
            <ac:spMk id="3" creationId="{D3ACF379-2C63-190C-3672-9DCD84A9F25A}"/>
          </ac:spMkLst>
        </pc:spChg>
        <pc:spChg chg="del mod ord">
          <ac:chgData name="Ryterski Finn (HNE US-MI-PB-BO)" userId="efff052d-68b9-4e8d-b65b-45dff653056d" providerId="ADAL" clId="{870BDC5B-2E94-425D-B3D4-696163FAE54F}" dt="2025-04-08T14:07:27.121" v="35300" actId="478"/>
          <ac:spMkLst>
            <pc:docMk/>
            <pc:sldMk cId="1199229873" sldId="4191"/>
            <ac:spMk id="4" creationId="{4AD77A4E-8239-7357-FE18-4181ABB9559E}"/>
          </ac:spMkLst>
        </pc:spChg>
        <pc:spChg chg="mod ord">
          <ac:chgData name="Ryterski Finn (HNE US-MI-PB-BO)" userId="efff052d-68b9-4e8d-b65b-45dff653056d" providerId="ADAL" clId="{870BDC5B-2E94-425D-B3D4-696163FAE54F}" dt="2025-04-08T14:10:28.706" v="35376"/>
          <ac:spMkLst>
            <pc:docMk/>
            <pc:sldMk cId="1199229873" sldId="4191"/>
            <ac:spMk id="5" creationId="{E87B37D7-9B7A-CA1F-E161-337A1FDF4DA6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8:31:28.128" v="25443"/>
          <ac:spMkLst>
            <pc:docMk/>
            <pc:sldMk cId="1199229873" sldId="4191"/>
            <ac:spMk id="6" creationId="{122A0A3F-088C-D538-A1A2-6B33D4B65F11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7:47:53.026" v="2414"/>
          <ac:spMkLst>
            <pc:docMk/>
            <pc:sldMk cId="1199229873" sldId="4191"/>
            <ac:spMk id="6" creationId="{DD4140A7-81A2-277F-06D1-92C2CE368F12}"/>
          </ac:spMkLst>
        </pc:spChg>
        <pc:spChg chg="del 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" creationId="{2526FAF0-5233-8E17-446C-88A90F5C341A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7:47:55.270" v="2464"/>
          <ac:spMkLst>
            <pc:docMk/>
            <pc:sldMk cId="1199229873" sldId="4191"/>
            <ac:spMk id="8" creationId="{925D7068-0CEC-14D6-4F47-CE66D35D5591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8:31:30.851" v="25481"/>
          <ac:spMkLst>
            <pc:docMk/>
            <pc:sldMk cId="1199229873" sldId="4191"/>
            <ac:spMk id="8" creationId="{BB012FA1-40B3-161E-7A71-0D0AF2E529B5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7:47:55.980" v="2491"/>
          <ac:spMkLst>
            <pc:docMk/>
            <pc:sldMk cId="1199229873" sldId="4191"/>
            <ac:spMk id="9" creationId="{8783021B-4B10-6710-C526-93209775F61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" creationId="{91D2C0F5-8150-CBC0-8295-0E6BB153524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" creationId="{4B00E838-C30D-75E4-457F-818AD2666F3E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7:47:56.635" v="2519"/>
          <ac:spMkLst>
            <pc:docMk/>
            <pc:sldMk cId="1199229873" sldId="4191"/>
            <ac:spMk id="10" creationId="{B5239ADB-0B12-44EA-4931-67E7E38988F5}"/>
          </ac:spMkLst>
        </pc:spChg>
        <pc:spChg chg="add del mod modVis">
          <ac:chgData name="Ryterski Finn (HNE US-MI-PB-BO)" userId="efff052d-68b9-4e8d-b65b-45dff653056d" providerId="ADAL" clId="{870BDC5B-2E94-425D-B3D4-696163FAE54F}" dt="2025-04-03T07:47:57.264" v="2546"/>
          <ac:spMkLst>
            <pc:docMk/>
            <pc:sldMk cId="1199229873" sldId="4191"/>
            <ac:spMk id="11" creationId="{D6096CF3-F7CE-49E2-0C12-F4595F3EF6C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" creationId="{F5B44498-942F-277A-0CAC-CB9D25544C78}"/>
          </ac:spMkLst>
        </pc:spChg>
        <pc:spChg chg="add del mod modVis">
          <ac:chgData name="Ryterski Finn (HNE US-MI-PB-BO)" userId="efff052d-68b9-4e8d-b65b-45dff653056d" providerId="ADAL" clId="{870BDC5B-2E94-425D-B3D4-696163FAE54F}" dt="2025-04-07T08:32:37.928" v="25584"/>
          <ac:spMkLst>
            <pc:docMk/>
            <pc:sldMk cId="1199229873" sldId="4191"/>
            <ac:spMk id="13" creationId="{0E1D397B-981B-D15C-331F-3447D2073BD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" creationId="{50B951B3-30AA-26A2-9DC0-B7076AF863BF}"/>
          </ac:spMkLst>
        </pc:spChg>
        <pc:spChg chg="add mod ord">
          <ac:chgData name="Ryterski Finn (HNE US-MI-PB-BO)" userId="efff052d-68b9-4e8d-b65b-45dff653056d" providerId="ADAL" clId="{870BDC5B-2E94-425D-B3D4-696163FAE54F}" dt="2025-04-08T14:12:36.338" v="35413" actId="1076"/>
          <ac:spMkLst>
            <pc:docMk/>
            <pc:sldMk cId="1199229873" sldId="4191"/>
            <ac:spMk id="14" creationId="{E31A0A94-D7E3-9D52-23FC-CDE3C31BF4FB}"/>
          </ac:spMkLst>
        </pc:spChg>
        <pc:spChg chg="add mod ord">
          <ac:chgData name="Ryterski Finn (HNE US-MI-PB-BO)" userId="efff052d-68b9-4e8d-b65b-45dff653056d" providerId="ADAL" clId="{870BDC5B-2E94-425D-B3D4-696163FAE54F}" dt="2025-04-08T14:10:28.706" v="35378"/>
          <ac:spMkLst>
            <pc:docMk/>
            <pc:sldMk cId="1199229873" sldId="4191"/>
            <ac:spMk id="15" creationId="{4A2BDA17-CE60-DFD5-F24B-D69F33A029A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" creationId="{22CBC42E-4E08-11E7-CCD5-2FE64437968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" creationId="{677F0BA8-6521-FF60-1689-936603823F7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" creationId="{8DBF390B-7713-67D3-C0D1-3D440ED82F3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" creationId="{99A69A0A-4ED9-D679-76ED-6829A21A9B4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" creationId="{5DC990EF-2524-635F-EE60-E827F6D7C4B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" creationId="{821093F9-D3CF-FF26-0213-F13CC0E8CB1E}"/>
          </ac:spMkLst>
        </pc:spChg>
        <pc:spChg chg="del mod">
          <ac:chgData name="Ryterski Finn (HNE US-MI-PB-BO)" userId="efff052d-68b9-4e8d-b65b-45dff653056d" providerId="ADAL" clId="{870BDC5B-2E94-425D-B3D4-696163FAE54F}" dt="2025-04-08T14:07:17.024" v="35296" actId="478"/>
          <ac:spMkLst>
            <pc:docMk/>
            <pc:sldMk cId="1199229873" sldId="4191"/>
            <ac:spMk id="22" creationId="{1A88E400-C513-D104-7738-7B98CDD754C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" creationId="{D319B9E7-220D-C753-7043-908F5693D83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" creationId="{6C85FD7C-0CCD-B364-2D96-BEB7B94E620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" creationId="{7322CF32-A428-D0C3-7BC8-604205AE8D9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" creationId="{C5F7C3CC-C85D-BAF1-DE1F-F307727F458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" creationId="{623D9D39-C7FD-AB5F-261E-97F2BFDA6EC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" creationId="{28F0AB68-5C9E-265E-228F-852EC040C05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" creationId="{5BFED4E9-F52E-299E-9BFD-B648FFF7A63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" creationId="{3EF4B645-42FA-5E38-00B3-964014EB777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" creationId="{F2A903EA-920D-0572-6574-2D1164094FC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" creationId="{6F141F5C-8AFB-F4D2-6715-19CB7EE2D1C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3" creationId="{B2C293C0-D53F-2CB7-2744-6D255F46E89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4" creationId="{8209D3C0-BA9E-640E-3161-BCBA42CF222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5" creationId="{CB763CAA-D06B-2E9E-F57B-43AF45DA149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6" creationId="{78B04207-2C09-60A6-7636-1CB1F4ECCF2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7" creationId="{46472D8C-70CF-8533-B1F5-DEE25E08428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8" creationId="{888E43C1-B457-3865-4F3B-0DB1BBB453F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9" creationId="{9520E571-B679-8262-56F5-3A01F04385A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0" creationId="{94980E6D-BEEA-068D-1C61-ED2BBC88B48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1" creationId="{51853BB8-4A06-B527-E403-74F40B2201C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2" creationId="{1D614BCF-F873-658E-4128-8BAADD75DB2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3" creationId="{2D873FE4-A42F-C9E1-E702-5FF291DFF29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4" creationId="{A1A5F692-3503-5C75-6CB2-94F90651004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5" creationId="{8ED09D3A-7F83-07A6-ACA5-04C3E09DD8A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6" creationId="{8AFBFAC9-4765-3213-3158-28654606016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7" creationId="{9EB18D69-0DD2-9AAF-1BF6-C1D43EF8BBE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8" creationId="{879A296B-E698-67FF-42A6-EDC64B74F78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9" creationId="{769820FA-A3CC-F1FC-4630-0E3E8757516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0" creationId="{F483DD40-4E9A-D0EE-4792-BE55BDAE98B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1" creationId="{9C7DF986-FCD4-BD5F-CE86-06F788E3858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2" creationId="{AADB5DA1-2EDF-E197-B50B-070C0D028F2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3" creationId="{1A4FA417-458E-BCF3-FBC8-8FE02704354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4" creationId="{2955C103-5E01-CD27-1433-A6DF4B1EDCA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5" creationId="{63A3DB59-EDBF-2736-8372-6C628FD53A6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6" creationId="{84EB7CD0-24C1-9239-217D-734E48EF8F3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7" creationId="{27666C03-A0CA-D211-EB6C-3A849C67F25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8" creationId="{B3F8ACA5-19A2-33C8-5E91-AFD8BDEB85E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9" creationId="{3C1D760B-62E7-A954-07B7-BB02FDD78D4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0" creationId="{93358B77-05FE-9670-7E14-77B806DD95E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1" creationId="{E1A573FF-0EBF-CC78-27BF-DE8D66147B6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2" creationId="{331A4C9C-144E-5E2A-72CE-B121C9C9163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3" creationId="{7C427090-668F-6B27-92DD-4AFCABADCFA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4" creationId="{4338DCAF-6599-8974-D707-D6AE36C485D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5" creationId="{4AEC2A32-97A3-B1FE-1B53-E4AB0663E79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6" creationId="{DD94552D-FFA3-9B42-5F22-ED2773186C0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7" creationId="{6FA8A126-2A63-E491-21C3-41EE52054EA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8" creationId="{D6800C42-BB6B-2E95-42FF-4B59D12F4FE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9" creationId="{E1C370C5-3149-F783-2AB7-E8A2A18C762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0" creationId="{E37CA963-D0C7-B47C-2230-DFBFEBFE176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1" creationId="{F06A8405-9433-D0BE-7029-43508E28E5E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2" creationId="{F6B3E5FC-2A59-7D5B-6A55-8185A2D79CD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3" creationId="{742870F9-E2EC-F4E6-FCD0-796122A2E45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4" creationId="{1434C863-3BB6-78A2-659C-37589A58794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5" creationId="{8BD8B592-A44A-D076-017C-51A6AE02AFC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6" creationId="{48256BD9-B3CF-489F-1A5F-5FA23163F54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7" creationId="{45725F3A-B04C-18B3-91E9-7415BD596C6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8" creationId="{9D50AE45-6D57-3A34-028B-29ED16A5E31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9" creationId="{9FF3ADA4-D2FF-E878-35E9-9134F93A781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0" creationId="{5A7C677C-7FF6-BD98-E47B-C053BC41259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1" creationId="{FE66EFA6-E5AE-C2B5-7013-C42A4F316C3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2" creationId="{CA118D43-380A-14E5-51F2-7046214B38C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3" creationId="{06B8A573-E3B1-98F8-C0C6-9540CDA7F82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4" creationId="{185E646F-14E0-F765-619F-FD5FD805958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5" creationId="{742A8779-6F11-AC8B-491C-689C1E80A79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6" creationId="{2E50F4EE-FCDF-DD95-41D2-073F9234431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7" creationId="{720650EE-670A-E166-BA12-D0E4E92B841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8" creationId="{7B157862-06A0-6948-F1B3-94EEA8A24B1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9" creationId="{BBFE0BE2-8EB6-EC76-9A36-AFC72BBDF76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0" creationId="{C75939DD-DA37-D0D2-A88A-D7BB8EA5E3B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1" creationId="{1B8E8ACD-BDA6-7836-3338-CC83FF5F7CA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2" creationId="{1DBAB380-07BF-60F4-59F5-0081B9805EF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3" creationId="{E82BA989-D9B4-F25C-D830-A1E88FC4C9B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4" creationId="{AB4F5713-FDDA-6004-4E70-58E7BE97C29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5" creationId="{6E1FA37F-4632-2E2E-D60E-ABDF2652EC7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6" creationId="{37408819-B4E6-8D49-C3BA-B812A0ACA15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7" creationId="{B52C156D-1E55-A5F5-078C-3FFC3957D56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8" creationId="{18D74A70-3027-4500-2E14-5D91793FEAD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9" creationId="{44F70884-5CD1-71B8-4836-346060748FC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0" creationId="{3CE8D6A2-0B77-4D03-6C1D-903D43B945E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1" creationId="{3128AD86-2BE9-3012-502D-82341AE535C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2" creationId="{847AA52E-9AAF-BA8D-A2AC-52C4377CCAA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3" creationId="{64866039-05A7-53D2-551A-7E3E8575ECE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4" creationId="{077B97B8-E140-ADDC-CAF5-EAC09D8B35C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5" creationId="{7965C767-297F-5DDD-F5CC-6FD2E7BE98E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6" creationId="{A6BDC578-BA05-703C-BB23-A4B816EBB59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7" creationId="{77D8F844-D668-465D-574E-ABA754E2AFD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8" creationId="{5DACBD6D-F07A-174B-E462-002302C9238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9" creationId="{1D407C75-1A1D-2AF7-84B5-BCB424A5CF0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0" creationId="{502DDC4A-AEB2-65CD-D0A0-2E0E08E5FA5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1" creationId="{6F56916F-4634-AD8E-6C91-EB718CE9F7C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2" creationId="{B478BC49-1859-4068-9F87-8FC97B9AC6C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3" creationId="{45E16072-BDFC-ED2D-0104-D9C1F1822CD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4" creationId="{B3300371-4E9F-620E-714F-BE4C88198EA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5" creationId="{A7A2AEED-25F9-B720-8C63-BFE9DE73910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6" creationId="{3B34A6B0-3478-16B3-DD55-E6CFE00052D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7" creationId="{534BCC02-E94C-0D0B-54BB-8D6A4F55341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8" creationId="{988472A1-4750-410B-C17C-698661AD822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9" creationId="{8034A58E-9DF1-C18C-2DA4-FE77CE1D60C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0" creationId="{26AD5B31-4D1B-5086-CE7C-F72B5588938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1" creationId="{66E29FD3-D2FE-F9CD-5977-B869FB7A4A3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2" creationId="{CF2BEC20-0235-8333-53EB-E94FEE6F186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3" creationId="{29040BDB-CF74-BF46-B5C8-A9AE6022945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4" creationId="{E9A634AE-292B-AF93-E5D8-F3DD17DA244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5" creationId="{E151199E-B9F4-8F7A-01EE-43A6E2EE38A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6" creationId="{AB230144-4C61-6AD5-46D3-DFCF228F7F3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7" creationId="{DAD11970-1E87-C048-3B70-45E0BFE083B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8" creationId="{BA0E3ACB-42F4-CFFB-4DE0-89A703B9EC4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9" creationId="{C0C5D4AC-4441-2DBF-033B-FCA7322ECF8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0" creationId="{B38B35CD-6385-4FBE-0569-27B7A96BD16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1" creationId="{2507DA6E-FA7D-C2EC-D19F-348F5E4426D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2" creationId="{3CF4212B-CDCE-8976-9B16-7A10B602469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3" creationId="{92CCA979-1DBC-8B88-B57F-B14D9DED7BB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4" creationId="{3CE9668E-E4E0-23D0-5B27-5101F732859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5" creationId="{FE8B7325-31BC-7AAD-9236-D7122A54E65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6" creationId="{71C826CF-4D2A-F842-E3B6-032EC78C411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7" creationId="{7CC83213-06AA-FFAE-0A24-D492790B4C0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8" creationId="{9529D214-DFC3-9496-6081-786BD0CADCE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9" creationId="{E3C4F954-CDD9-89CD-239F-198950FBBC8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0" creationId="{2FA74662-1671-06B2-E08C-116499C3D46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1" creationId="{196EB950-417A-EBC0-AEC8-985C1B467DA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2" creationId="{8B507FC1-5BC7-C4BA-6821-C6511A59318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3" creationId="{49A6A683-F593-1F99-DE6A-D1A48075071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4" creationId="{BA6D2834-516A-2CDE-75EE-4BC1B386742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5" creationId="{4A166D2F-0BD8-9B05-DF28-D7BBB79C063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6" creationId="{F8A1B51D-C7EA-AA07-00B5-B3F51F13824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7" creationId="{1D4E5543-AD47-9E2D-F2F4-E7B34D08D14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8" creationId="{F670C428-CA72-E3BF-3512-C2B5507E581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9" creationId="{1C268BEA-B4E9-EFB7-5976-54DE47487E6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0" creationId="{00DB46E7-4AFF-19EC-FAE9-9876CDEBBD9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1" creationId="{DB62D701-29BB-158F-F28E-C973F4345F1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2" creationId="{663D66A7-1D10-7AB6-7F32-DDC42C32868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3" creationId="{1805F321-9B7E-2064-5E6A-C8B1E19F9F2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4" creationId="{A8EE6E73-7A8B-409C-13D0-3EC595371A8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5" creationId="{6E5C5914-0082-A435-80AC-CF2F94EDE28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6" creationId="{0D94A68B-5647-9BCB-E7B2-EFCAC337361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7" creationId="{60BFC862-B882-EBFC-83BE-BC73CE9ECAD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8" creationId="{162B0178-700E-1DED-5881-93D90F201B7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9" creationId="{1F7B2084-3675-F56B-D578-5836E08EDE0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0" creationId="{B0E1A6BC-7B7F-493C-C3F1-3FED4B2CB87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1" creationId="{A2FF2825-DE83-F387-82CE-0483A44388B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2" creationId="{C169B9EB-6B86-F177-EF19-6526D562566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3" creationId="{6DC75B91-B09A-B7AB-7BA4-4DF4AB3E59A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4" creationId="{75D13346-06AD-23ED-7DAC-69F73AFA49C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5" creationId="{84791E95-E3FF-78BB-DB32-62032A6A253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6" creationId="{7AFD59C2-CB39-8B92-1297-4639882D358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7" creationId="{18980F13-3A6F-3BA6-50F2-457C1B75F6E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8" creationId="{AE69140E-07DD-0BDD-CF11-1F197D4AD16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9" creationId="{D33B27ED-D500-AE0A-847E-7D042D7F995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0" creationId="{87526B03-2F8D-7AFC-8686-DE4CE2B3E75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1" creationId="{75A2486F-0344-9C83-3E01-1C0C943DCC3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2" creationId="{77720F29-A0B9-EB56-8EAC-CFFDEDDB66E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3" creationId="{BF5BA574-59CB-21CA-6F3D-6792BA4C913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4" creationId="{7070EEB7-1E3E-C2BD-5115-50C193D29ED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5" creationId="{BFE1C7F3-943D-F62F-E5E7-55898E8499A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6" creationId="{76D7005A-DD1F-70F4-AA67-2DF04BB6893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7" creationId="{742A425D-B451-0726-094D-50EF14C14AF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8" creationId="{364EF956-22BE-0370-51C7-B11C814D6D8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9" creationId="{8818DA1D-F314-143E-DD32-E4DD4EBBF37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0" creationId="{883432C0-45D3-C63C-54D9-BB52F4CB133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1" creationId="{3EDFBA07-16C9-DB40-5151-C1734385890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2" creationId="{E1958344-016D-21AF-B699-CEBA649D078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3" creationId="{006274AB-D083-CE12-FE72-55F9A5268C7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4" creationId="{EA950021-DCF9-7CFF-A255-36695FEDC53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5" creationId="{4BD51E42-07B0-250F-7654-0A9F1D47DE3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6" creationId="{0B1B6CBA-AB39-9431-4388-F02F5D764A5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7" creationId="{F6738BC0-5BFD-D8F2-003B-C8788C1139F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8" creationId="{AC5888C9-6989-2532-04D6-3183F10C48D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9" creationId="{5CE67BDC-5EE2-1D7A-1560-DBAEB6B23DF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0" creationId="{D8256DA6-1058-EC11-0C72-ACBD347E0FC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1" creationId="{CE7A3A40-7029-DBDD-EF5F-E01A562D80B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2" creationId="{E2E5EAAC-DF1D-A9A3-D739-2C6B80496E9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3" creationId="{BB64902C-FA68-49F2-0910-9615E06E788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4" creationId="{53206D90-9262-FA96-6A73-AA16321F7A2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5" creationId="{2349C945-0350-75E6-E386-9F9FC919081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6" creationId="{8687CA5E-1AEA-6F31-65FA-A330191076D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7" creationId="{F089C402-D3BC-58C9-41D4-F4E958134EC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8" creationId="{27FBF305-8BA1-312B-96E1-96AD781CF39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9" creationId="{1405CD38-CE44-D7AE-4F8B-FF4E74377EF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0" creationId="{A8E0D605-5ADB-2B4F-825A-A5997C42139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1" creationId="{A2698B27-591A-1213-C812-35418657F9F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2" creationId="{D7DA16AF-DF46-D1E9-420C-DF89D24FED3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3" creationId="{5548E216-6E54-4D93-4709-C992B5B15D1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4" creationId="{353AC3F4-0F86-75F3-C163-E75BF7650B0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5" creationId="{AB99F6C5-D4F2-C04A-88B8-49B420D9CDE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6" creationId="{2E463AE9-63BD-85A9-6806-1D88BD7D6AC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7" creationId="{78C451A8-2C22-8953-BBA3-B9549C91590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8" creationId="{6FB44AE4-D092-8A35-9F0E-49E856DC2C7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9" creationId="{9190378C-10A9-B1DC-CA7F-8F8290D18C4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0" creationId="{B660E049-401D-9580-ABF0-E69E34CE508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1" creationId="{7A422D19-CFF2-1CC6-B6C2-9087BBCFA62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2" creationId="{C4C9813A-A208-D777-8F69-17775190359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3" creationId="{3DDB65E8-030A-722A-5070-2D0D600DBF7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4" creationId="{40E60CF0-B941-A952-3233-53AC04AE54F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5" creationId="{76892310-51B6-7894-6A64-FE21C9390B3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6" creationId="{30FF0187-E6BA-4073-6777-D170EEC300A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7" creationId="{6B45EB4C-383A-DF6B-7DCB-5BF222171DC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8" creationId="{FC72CFE7-9AFC-9B52-1826-51F919C16AF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9" creationId="{62B3B8BE-979D-7009-1441-ABB75F3E843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0" creationId="{58F16DC7-6039-4C90-B8C8-16E9CB46134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1" creationId="{66867300-E556-93F0-78D1-AEFB91C1C5A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2" creationId="{B801B9BB-9339-67F5-466C-BD653EFE054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3" creationId="{A60A2A15-DA3B-4AE0-F69F-6F4B50D9101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4" creationId="{44B7E184-91D7-611F-DC68-DDD2385E0F2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5" creationId="{4F2FD9B4-FFE8-C796-CBBE-A1443FC02B6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6" creationId="{ACC75EF0-1F7B-151F-442F-D530417B3E3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7" creationId="{F56BB96B-0B48-E31C-1668-77947BE57AB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8" creationId="{0A11106E-88DD-D665-B202-5560FA28F51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9" creationId="{450DE80A-AE89-91DE-B72F-557F4DAC6AB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0" creationId="{A59A9C24-0264-836E-8C96-9893E2787E0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1" creationId="{2B387ABE-2E57-080C-9871-B49DBB66818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2" creationId="{03810156-3414-5021-4CFF-0FEBEA4990F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3" creationId="{039DFD9F-1BC3-205E-76D0-FEA33E8DBBC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4" creationId="{87E400F7-81FF-AB60-86C2-40050952EFB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5" creationId="{CB81EBC2-19CC-1E0A-64B4-B376F6B84BA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6" creationId="{EA10A1C6-9131-FA96-5CE1-B6B245E4215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7" creationId="{F420B49C-F437-0EF2-0DF8-E429EE3911D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8" creationId="{02826D4C-B672-1100-F80D-2972BC6C805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9" creationId="{9AAB4707-BA75-CDAB-B096-B0E1993E16A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0" creationId="{12A9F7EA-4923-EE89-D517-D7ED46C1967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1" creationId="{8E87DB02-72D0-5505-CFDD-D357DCC963C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2" creationId="{B7EEA7A7-DF07-FA76-4C05-48F25C6EA45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3" creationId="{65C877C1-66B2-A029-CD0D-29F92D3DA6A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4" creationId="{31EB1183-82D1-4BAE-BAEA-FC1C3E5C1BA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5" creationId="{4DF7071D-F8B5-F7F4-A215-26D142B792F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6" creationId="{D516F6F3-E7BA-3265-1BD8-4B1ADECE1D3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7" creationId="{6BE7276B-F643-9028-FB53-22AE1BE0631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8" creationId="{261A3583-4C3F-FED8-25FA-35B11019A16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9" creationId="{F00247B7-9ED3-6C2E-D725-F881E4DB9F5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0" creationId="{73BC5CE8-2778-EC57-9882-38FCF59EED8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1" creationId="{1E8708A3-9320-B13B-4213-545CFC973FB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2" creationId="{88FB1C83-A913-80F4-9E72-24B7F4FD2B1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3" creationId="{092DA333-DC5A-1195-2E21-DA29D86EA18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4" creationId="{ADCFE4A5-DCB4-728C-BB9E-A40125F4AF8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5" creationId="{47F2A27E-064A-BDA0-0C74-7028F6F0ADC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6" creationId="{6B7E1162-D2CA-F5BE-E3FC-675D88A2D76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7" creationId="{62F0BD6F-07DB-E8C9-E58A-DC6536CADBD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8" creationId="{D31D8B80-572E-795E-BA92-D104C1036A3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9" creationId="{4126D03F-A8B7-56A6-AD3B-33377BE90A5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0" creationId="{AB34549F-3E5D-FB4C-2048-8B1079A7A93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1" creationId="{0BFB5252-8124-F9A7-75F7-70BE4D3B9B4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2" creationId="{DACF4235-DA47-8E3D-F103-D273A6C8B13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3" creationId="{458743AD-560E-D9D9-7D94-83A86C80894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4" creationId="{0B033212-9EAE-1B13-826E-86D6DC7DDE9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5" creationId="{3CFFFD23-3F18-63DD-3951-AC894816E58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6" creationId="{C0EE4AEB-797A-14BB-9770-EB6B53E33FE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7" creationId="{516C35CF-2295-C939-27E6-BB4E102947B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8" creationId="{308F0D3A-D546-DFDC-5289-E35F38AD36C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9" creationId="{43101A08-AB88-CC95-2864-87BEECA8D14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0" creationId="{C066E044-2A1B-5F99-57A7-39FEFC56F37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1" creationId="{B2B6A373-2A9D-B31A-A1EF-CC3AF1439A5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2" creationId="{D1B788F2-426B-2690-7CCA-35A21812CD1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3" creationId="{61EDA4C7-A793-46AE-93F7-B1EC806B249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4" creationId="{BC18D737-05C6-A678-A8BA-71A74B46AC4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5" creationId="{4AFE5119-0145-A746-0F3A-15DAB29FE93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6" creationId="{7C1DC1C3-12B6-2891-8288-4F271919BD7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7" creationId="{CE20D98F-F93B-E83D-A15B-10DB0D5D8DA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8" creationId="{04557265-84C5-0E51-DC05-DEF00B393A1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9" creationId="{6FDAC83F-8DCA-0DCB-6475-671758B8262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0" creationId="{170BED87-FADC-B88B-E0D5-B848D283B32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1" creationId="{2DA1E175-7A00-3C3B-F84C-C56AAFC1EB1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2" creationId="{76778F97-CFB6-4D20-847D-93DE09A6701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3" creationId="{CFBE8623-1DFA-2C65-483F-25342D6EB21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4" creationId="{A7F0A91E-1880-368D-4ED8-79188F41BCC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5" creationId="{BB9D8EDA-EC60-A813-7CB5-51E11D1B38B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6" creationId="{823E144E-4587-C788-3132-5056F769EEE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7" creationId="{C67B562A-AC1D-ABE6-5534-D59229A70EA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8" creationId="{DA0CB25F-6836-7A95-1652-B3A9B9B8F0D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9" creationId="{3BAB2D97-8684-0DFD-B6B8-70C67799AF8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0" creationId="{FFF83DA5-83DE-C458-D6C5-4C58D43C1A6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1" creationId="{0F761DFC-82F4-0F44-E1F7-A23B77F3860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2" creationId="{AC09455F-0B8B-D47C-0133-DC10AD47D57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3" creationId="{EFF205AD-E66B-D620-DE24-45B0B087193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4" creationId="{83D803AA-2E88-E242-E8E0-1179FE7BDA9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5" creationId="{6C74B134-5A72-E374-9E1C-249C92C4032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6" creationId="{556902EB-2239-719B-0133-E4E788CDCC2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7" creationId="{123C11E1-2FE4-952A-6ED6-5025DD253C9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8" creationId="{4D4FEC6A-14EC-631A-8066-0F189031202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9" creationId="{307BEE19-CFD7-AB91-648C-AA1BF7AB3E9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0" creationId="{96A6D244-EE1C-D691-4235-D8B17C570DF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1" creationId="{1AE36FB0-75F3-77DE-4277-47FCAF2A1C8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2" creationId="{CEA2D2B2-4432-9BFA-5166-9A81FDCEC74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3" creationId="{9D03239B-0921-F4AC-216E-934903C585B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4" creationId="{91780C08-C199-9437-436B-1BBC1CFA59F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5" creationId="{0F3EC6B0-98F9-DF64-1787-99310E7D385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6" creationId="{30BA5CF3-7AA2-4810-90CE-5ABAEDC5C12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7" creationId="{A866964F-D978-44B4-CCEF-8ACF346A5D6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8" creationId="{BD0CBFF8-EDDB-29FB-8261-565282DF7FC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9" creationId="{EF0213AD-111C-4763-12FE-F67888E598A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0" creationId="{3425DCB6-35A7-CBDF-AF0F-FF2D94BBBC3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1" creationId="{95FF5265-7C75-0F7A-83BB-14A004300BE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2" creationId="{DA028FF0-663A-E7B8-767D-BD72FE626CC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3" creationId="{023E6AAE-0F76-C50F-8DBD-6BF7B4C2B16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4" creationId="{622D33BF-7062-D5E0-B8F0-E61412C9614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5" creationId="{CAD4BA9D-58CD-BDB6-10BB-04B7062F4EC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6" creationId="{96E20698-52DF-3CFF-F401-1DDC3383DEC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7" creationId="{1646F9D0-349D-745C-9B3E-62E7CC78A28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8" creationId="{3207BE45-2298-56BE-300E-920F3380452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9" creationId="{A762DF7C-D772-B815-00B9-3555106A5EB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0" creationId="{C0F192EB-981C-4F6C-683F-79A3078A853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1" creationId="{27BD99D3-69BB-FBB1-1D22-88B9ED06A7A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2" creationId="{121EE10D-EB68-5A97-78FB-8BC4B4365BB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3" creationId="{8AB94A25-26FE-0176-4841-F6142AD8DC3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4" creationId="{C27FCFFA-22B2-8B5E-F88A-A7595B35BCA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5" creationId="{19B11CEA-AFC2-1B40-F5C6-A795984CB89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6" creationId="{625AB042-F350-4705-A389-0FFAD508A7A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7" creationId="{B0B29848-61DE-6201-CE5E-D4147744463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8" creationId="{5502ADA0-8940-276D-1467-5494A9019F5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9" creationId="{44DAB0B2-D1D1-F2DD-C0E3-7CE4AF1A230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30" creationId="{79871B6D-DAC6-C084-58A8-F5A03E6EFE2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31" creationId="{E7397086-93E5-E3A1-AA65-960720714BD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32" creationId="{A81818AC-CDED-1C50-4FAE-222388550A6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33" creationId="{84243743-C9B5-8B7E-7CC9-7C203D3A767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34" creationId="{ECA98B32-9489-A379-7973-DE59F8DD45F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35" creationId="{96D1E73C-A96E-E8F4-F1EA-E7D8CC2FCD7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36" creationId="{7115F8DA-9335-BCBD-4D2A-04C8742831B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37" creationId="{778F23B8-A181-FF10-B720-876C18E1B27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38" creationId="{80209F41-BD18-F3AF-6E74-977E5B8E9D9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39" creationId="{D17C703E-6A09-AF71-04B1-90286829AF3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40" creationId="{BE26F04E-9D95-0CC9-912E-6B2629052AB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41" creationId="{6C2740AD-B127-D38A-0DE4-0097C4BA350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42" creationId="{9722347E-4596-D67D-E365-6AC7DEF935B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43" creationId="{7926BF24-0224-DFC5-A213-A708ACD8ED4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44" creationId="{FE2978B9-6599-99F7-A0E4-574C1046C98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45" creationId="{C73FA76F-0A3A-4C2D-9FCD-93FB15D2301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46" creationId="{1B6E7421-A79B-2607-0A64-98A0BBCEB56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47" creationId="{C96170F6-A2A8-7071-E91D-E9BC9D4EC87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48" creationId="{6A38A8E2-0CFD-F3BC-9168-EC20BE3F439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49" creationId="{3AD04DEE-64D8-964E-B0FA-9D8DB0506D2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50" creationId="{ABAAB99C-2225-6E44-CF92-14F2FD5E2F3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51" creationId="{C42413D2-D26B-1475-2D3B-EE71B8BF7E1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52" creationId="{DB0B651B-F50E-E623-377D-070FA0FDD53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53" creationId="{142A96D3-58CE-87AF-41F8-B730A095467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54" creationId="{C5C600AC-C24E-4B99-E29B-62B10DA1ED0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55" creationId="{543E986D-76B6-2EE5-DC4D-EEA04AA07C3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56" creationId="{A3150C2B-671F-504F-9CC9-6F58390C225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57" creationId="{444C96D4-6AB3-6CB8-8754-748008A6B28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58" creationId="{2E362DBA-08E8-9976-BCDF-E2324847344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59" creationId="{07198299-E35D-B598-7771-3EC3FECDA93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60" creationId="{0EB7A970-23BA-9A61-D08B-5E1837862D3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61" creationId="{1FA0FD1A-7CE8-96E9-0B7B-2E39ADD436F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62" creationId="{86BF8B78-276A-4778-BED6-40F8EA51701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63" creationId="{ED19A823-FC5D-69AE-288B-58819D62EDC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64" creationId="{64FC919D-8817-4267-89C2-BDFE602809B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65" creationId="{CC9126DC-359F-AD75-65B2-030F6178A6D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66" creationId="{57061EED-FABD-82CF-AEA3-AE62659CB8C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67" creationId="{00F5748A-1F03-6FEB-D92C-AF50C0B8139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68" creationId="{AC8A7F4A-34B8-C2B7-7DCA-2EE228D552A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69" creationId="{F54508E1-486D-2928-E0CD-409D3D40066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70" creationId="{2C376B98-3791-866A-9246-487EE58DD47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71" creationId="{A486B06E-D2E9-3D4C-7780-B1C721FB718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72" creationId="{04D7B000-DADD-5EE8-E428-59163BD5785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73" creationId="{D5C97D74-AC85-FE14-1E32-B7ECF6F06A5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74" creationId="{826AC4D8-76AE-6344-E31D-64F7E10E447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75" creationId="{B01D6CBB-23E0-D771-90D9-495E8BDAFD4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76" creationId="{6C761AAD-B539-896A-F575-229820A4C68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77" creationId="{1D94EC37-E0BD-6D29-C237-94CB6E236F6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78" creationId="{F956DC8D-E014-C55D-7C9D-B9500195967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79" creationId="{7455D6DB-ED6E-0FAB-76E4-18EAF941E9C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80" creationId="{9F14161B-97BD-7FF2-DDBB-155A40F0769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81" creationId="{4521BAF0-76DB-8A31-6DEE-940FAC5232D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82" creationId="{D65D1465-C3E3-3745-84B4-D26426419278}"/>
          </ac:spMkLst>
        </pc:spChg>
        <pc:spChg chg="del mod">
          <ac:chgData name="Ryterski Finn (HNE US-MI-PB-BO)" userId="efff052d-68b9-4e8d-b65b-45dff653056d" providerId="ADAL" clId="{870BDC5B-2E94-425D-B3D4-696163FAE54F}" dt="2025-04-08T14:07:16.284" v="35295" actId="478"/>
          <ac:spMkLst>
            <pc:docMk/>
            <pc:sldMk cId="1199229873" sldId="4191"/>
            <ac:spMk id="383" creationId="{6778C0DF-0CF6-FF59-B561-9BEE53047F4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84" creationId="{A6FB34D2-EEE5-9963-41EB-E5C0B3238E6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85" creationId="{5E29212B-E007-B7F7-7665-C09904011E5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86" creationId="{7F4EC10E-9659-9AA6-27EF-B11AC90E287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87" creationId="{778E9229-F0C2-A580-35A3-E7FBE4860EB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88" creationId="{483E2859-C36A-F907-0830-44BEB5F7787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89" creationId="{672408E9-F68E-5E7B-4938-D4C076F7DD2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90" creationId="{A15ACC44-4D45-259C-7412-B01B242F6B4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91" creationId="{E2BF7DD1-8874-2699-5752-86777D32556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92" creationId="{0F1B0338-B0E9-492E-A278-5BCF606E35A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93" creationId="{DCFAC784-A6D7-1B50-4319-BEA6CC627B3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94" creationId="{7F50686F-A094-43DD-7AD5-5D2C26D8870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95" creationId="{92E4F722-9863-0379-01E4-26DF6DF1A2C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96" creationId="{0EF55BA7-0CE6-0921-38A2-98ED21129A3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97" creationId="{B414270F-18C5-7C3F-508E-CC117A9A6B1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98" creationId="{CEEA1E8A-C213-B3C6-3DDD-EEFE0FB6967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99" creationId="{2555E31E-CC2F-98D5-9A0E-C9961AAA18C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00" creationId="{E6BF9108-3208-77AF-42B6-EE0872AE49B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01" creationId="{4385AE01-0EC5-9362-9AF2-C30150314D7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02" creationId="{269113D5-85D6-770C-18A8-D16CE6A5B3B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03" creationId="{1C6B9BE0-97BE-CAEB-6217-FCBFBA6F306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04" creationId="{4BD57224-7009-E196-FF89-A14658FC5EA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05" creationId="{3E996BCE-D3F8-C387-9023-153387B9FCB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06" creationId="{BB183D7C-F693-A987-14D7-872799827AB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07" creationId="{1798632B-1BC3-E618-9716-C489118A1C1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08" creationId="{32013358-9551-E2E8-108D-1269A5CB3B4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09" creationId="{A52439A2-8665-6919-87D1-F82241819E2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10" creationId="{179256AC-AFAF-F29F-6939-76EB35D177B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11" creationId="{F34DA6E3-0B15-3A41-1D85-7447394D752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12" creationId="{96A20FB7-4B42-0D0D-70EC-3D58085C032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13" creationId="{902C8A3C-9DFA-4A78-C49B-713734C169B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14" creationId="{B23E2D92-E74C-3679-57E9-17D9E7AF990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15" creationId="{AB0E21F5-7AC2-423D-11D2-D0D74DEA355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16" creationId="{F447E675-B3DE-88AB-7A7A-E6DD979BE3A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17" creationId="{9E427ADF-6699-1A8F-D1C2-AEA65F6D309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18" creationId="{DA783870-05FC-97E1-71C1-1ACB77ADF43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19" creationId="{8515FA15-3E94-392B-72C8-B9D547FE637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20" creationId="{73510D69-CE0C-A061-B726-C832EA911F7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21" creationId="{8CE699FA-4F8A-B3BF-9BA2-5BC2E871EF1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22" creationId="{68ACC4ED-43E2-C893-A513-BC47C3366F5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23" creationId="{D93B5B30-99ED-85C9-FD5A-7AF63F38944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24" creationId="{84484057-8A5D-013E-7D2F-B57E8C47DD8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25" creationId="{048E603B-1B9A-7472-4895-8C82FE5C092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26" creationId="{2C082E65-C638-47A8-EFAF-6679B427030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27" creationId="{1DA0D7A3-9C5C-D27F-CA1C-068B4C21654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28" creationId="{04E301F9-2854-DACD-44CE-4C1D7007B93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29" creationId="{83BF8C87-62CE-2F4F-6E5C-C7295FE3769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30" creationId="{5F6D7F2B-C73D-F69D-1FA1-65F41498212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31" creationId="{C47E39D3-B804-009C-50C0-334D57E8420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32" creationId="{F4F6F99B-FA03-FEE5-1522-2C839BD33A8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33" creationId="{62B7AAA6-CDB8-5262-702B-CBEBF26FCEE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34" creationId="{35D00490-AB83-FEB1-0B3F-D9B93D9B325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35" creationId="{15792B85-EB6A-DAA0-101B-E4EDD9866BD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36" creationId="{E077800C-D099-773C-2332-71B075AFC72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37" creationId="{4FDA481C-5E89-0F41-F4B0-FBE94B3B6C5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38" creationId="{496A12F0-9923-C141-C17E-DC870B37113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39" creationId="{B9EF7C65-5DDE-B699-2125-E0E74716803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40" creationId="{1D17B4EF-38CD-8E13-C18F-50072E3D505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41" creationId="{564824BC-0383-D4C0-D758-5768BC5EA78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42" creationId="{46FA70FA-5B5F-3971-3E90-9A8212FF0E4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43" creationId="{69B37ACF-84B0-833D-8AC9-9B300452934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44" creationId="{334F1060-DE37-3270-7CA8-6902826EC22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45" creationId="{E63C72D3-F04E-381E-1D3C-AC8B44F65A4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46" creationId="{EFD293F7-DD86-9AA1-3330-B15782663D1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47" creationId="{95E2BC20-0EBF-BF38-9A45-E562ADB9ED0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48" creationId="{46BA99C9-68BE-D6FF-54DE-17E915A8975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49" creationId="{AFE36D80-2A3D-A218-10FC-A4F1713BB5A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50" creationId="{6FD7334B-E8C1-0E3C-0862-CFDD8FD94F0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51" creationId="{6B9B9468-DDB2-4FBB-D6F1-FA76EF0309E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52" creationId="{795177E6-09E0-61D6-1E2F-9D209504103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53" creationId="{5D0ABE82-DB17-F38B-C983-E3832A61359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54" creationId="{8AAE6877-BF2C-A2DF-45D0-D369D5F2DDE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55" creationId="{90775E36-2E0D-5D63-D48A-CA7DA6162C4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56" creationId="{00819B60-C491-6C17-DC88-D25E8486C07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57" creationId="{343087D7-BB16-F5E4-6991-6B9E422C01C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58" creationId="{D8659A32-2436-6D7D-A795-77E00EABF80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59" creationId="{C3B669F3-5E13-7EC5-1AD3-E545C51EA8E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60" creationId="{6FE95DCA-4B9A-AA03-DBC7-C6007A4F93A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61" creationId="{E7982292-9062-46CC-68D2-579C6AEE911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62" creationId="{49332F88-323C-F6D8-7486-14ED98865A1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63" creationId="{750F4216-409F-10F7-4776-94D01BFD5CB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64" creationId="{4F812EA0-1BEC-0AFD-0B23-8C14F6964EA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65" creationId="{69320B9F-8E48-AEE8-6681-897C6F7B529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66" creationId="{18D7C4BB-57DB-1553-57C5-A9D69686CAA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67" creationId="{37C15FE6-8BBE-35CF-4A85-D35CCFD03C7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68" creationId="{BBE6D17D-7619-9FBD-A953-D53A3172401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69" creationId="{22AA6DF1-3DFE-3410-7B39-D78944F168E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70" creationId="{3FA3D6B7-6C00-5CF3-C29E-CFD6359D9C1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71" creationId="{9F9CC513-7E59-72A4-00EA-7852F22196E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72" creationId="{2D5801A7-8758-1E78-F8D1-EFC54701E7B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73" creationId="{E32369E3-5679-6D08-51DB-FDC500935F2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74" creationId="{52CDD2BE-AC8F-0894-9E9B-CCADBC9FD54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75" creationId="{A3F0A4EA-4D70-29EE-9BB4-53D9D767B91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76" creationId="{BE338C97-B3DE-E872-DDD2-2B5EE872A0B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77" creationId="{0E375C4F-3BDC-9872-7101-DD28AF0843A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78" creationId="{AA48CE36-B051-F0B9-EC8F-0B5DF2403D1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79" creationId="{6353CF93-7AD3-4C79-981D-8D62DE588FC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80" creationId="{A53B22E3-7ECC-35E9-2843-0D1E26ED02B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81" creationId="{7CD69097-E070-D312-B7BC-795A22A5B4F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82" creationId="{20DFE067-F1B8-0167-40F9-1CF6DE8E8E8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83" creationId="{4B1FEE24-A11F-B4D9-E4AE-D085C5C302C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84" creationId="{C7B7EABA-0F2B-99B4-5E57-F2DCE7A40D0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85" creationId="{B6562A01-6708-DB28-B655-31D79167819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86" creationId="{BC659B57-C998-176B-56A1-3D18E3888D0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87" creationId="{194BE75A-E70F-37C2-4C78-2A36328A87D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88" creationId="{2D0C61D5-4D29-9430-D2B0-3272D777320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89" creationId="{5C229EC5-2216-923E-211C-B8CF1E790D0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90" creationId="{6F684034-1756-8BF7-A10E-9F694E43132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91" creationId="{BD4B7D3D-0702-71E5-DA55-8E2EBC1D403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92" creationId="{C45DC7B2-FF47-E816-448C-2F488DF8948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93" creationId="{7179E0A4-BB9E-287E-687D-575FB1AC1D0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94" creationId="{8B203738-FC22-D235-1F08-EE3CE7C5C10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95" creationId="{989B7C71-A755-9BEA-6DC9-66A972A1A41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96" creationId="{85602F47-CE3A-D36E-2A6C-68674A88751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97" creationId="{1328D1DC-1403-37D0-66F4-6FC4A15E811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98" creationId="{75285749-8F40-2A4F-22D1-10C8B409AD1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499" creationId="{E064AD17-6C3F-7966-150A-F621C13DD2D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00" creationId="{6161A2FD-5916-2909-5157-C174258D1A8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01" creationId="{9EE18029-3291-D985-D305-32F7C7A8DB6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02" creationId="{7A48F1FD-DDDA-BD2B-DE73-006BA20CC63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03" creationId="{90C6CDB5-9506-C199-B842-FA5ECAD40CF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04" creationId="{D155EBD9-7351-E904-20EC-EBD154BAEE6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05" creationId="{8BC2A42C-32CB-7B0C-6D86-DA7AA4274C3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06" creationId="{0E1D484C-7BD2-9221-613B-B62318F2DCA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07" creationId="{64DFFB80-EFB9-F8E4-A262-71989B657CD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08" creationId="{2358B3FA-0114-3966-EB83-9DE052E5EA8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09" creationId="{BE4E7415-D0EB-FABD-74F1-8C9A89F137B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10" creationId="{C1FB724D-9253-6E2D-D94E-BCC546D912E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11" creationId="{41C0C8AE-1B73-582B-B654-535CC2563CD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12" creationId="{03DD07F6-280C-221C-24F6-0DC44097D98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13" creationId="{E8936461-F307-F0E7-B5D8-23D81355FC3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14" creationId="{BFD80078-C806-259A-E549-5C21D25E84D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15" creationId="{E1463572-98D8-D007-D3C3-6AB26967590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16" creationId="{0230BB37-A319-069A-239E-98D984F7FBB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17" creationId="{F0D60786-D557-C5F8-60BB-47A0847D6B4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18" creationId="{D916534B-5687-0C1E-67F5-9D4C3D88876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19" creationId="{52D9C980-9425-71CF-954F-D1AF7BF3881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20" creationId="{025473D8-5CF4-606E-8128-1CD84C550A4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21" creationId="{E5FC7D07-3540-ED1F-4388-70FEE4E8B37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22" creationId="{4F7A9CCF-F1D4-9467-8C84-6CD71CB79E4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23" creationId="{CA450B19-38E9-B928-B45E-0A4DBBB8AF0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24" creationId="{F5AFB9CB-4B05-6DE9-B79F-B285D5A89DE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25" creationId="{5BD56877-782C-6863-7D72-7B5CD183693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26" creationId="{CBB53428-0E1D-E96E-698E-A9297E9CF82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27" creationId="{A6E4ACD1-853D-4F2B-1BA4-F3D16D45FF9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28" creationId="{9DD70E20-84CC-2EBB-1A83-E1195F1985C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29" creationId="{26130446-94A8-4C90-0883-2E8ACC5B061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30" creationId="{F95E7405-ACB8-0896-490A-5F54FF7A649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31" creationId="{1937C643-56B7-BE29-4B5E-8FEBC6A2F37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32" creationId="{8A1E29D1-B0AC-BCBD-C4CA-F0C490D88E6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33" creationId="{6896746A-E950-62F4-CD8D-B3935C29F38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34" creationId="{0D958087-0700-0028-DFCC-031FF0F8616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35" creationId="{2DE4A562-200B-428F-4F53-5F0F7E54D5B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36" creationId="{C02A545C-EC33-8A51-3DE4-5E19E7AAEAB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37" creationId="{ACB0C2C8-A458-3471-54F7-1502BEE5D45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38" creationId="{96FE1179-4E8B-E3C3-8143-2F3ED8A71E2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39" creationId="{24D5CD23-BCA9-9C75-774F-DA808ABC937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40" creationId="{7C6076A5-3EFC-2C13-B747-CB924FBC825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41" creationId="{CBE95CF6-FCB4-0B17-55F2-44009E1D5D4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42" creationId="{0C47E6FB-0D79-4219-0CC3-15C69D9CDAA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43" creationId="{DF4E505C-DF77-D2DD-DB93-A45BD7553D8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44" creationId="{444E945D-7C3F-06A0-A29F-366D499F725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45" creationId="{836D68DE-E30B-8DF3-6943-9CEE62E67A3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46" creationId="{06DC5419-73B2-0FB4-B8A6-C263166C486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47" creationId="{005D8772-F04B-D359-D688-F1BD41788C1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48" creationId="{3081F830-B6E2-AAB8-239A-072145AB1C7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49" creationId="{621623EC-5896-AE59-EFE2-C7D57DC7FDA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50" creationId="{B6587F32-FE20-CFDE-C34B-D3E746E69B6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51" creationId="{F003955C-EAAE-FA2A-085B-3F53073EDC3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52" creationId="{D660D3B5-B533-855A-ED1F-72A6C6EA9E4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53" creationId="{D8D283F3-BB49-2413-A1B3-7CECADD3A08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54" creationId="{5373E3FF-4D1E-E413-9BF8-EADD9257ECC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55" creationId="{F4D00E43-CFC6-2F60-936A-7177AB96A68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56" creationId="{0E1CA6B6-F391-56EF-9008-F2AEBB9F311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57" creationId="{83F8B1D5-560B-AA3B-16DA-922C30CC857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58" creationId="{CD9151ED-3D90-3EE2-EC5E-7413C2B98F3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59" creationId="{6FE7906A-620B-7A0F-64C3-BE364119427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60" creationId="{137ACCEE-2D16-562D-5E04-18F48380E51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61" creationId="{D7795EB7-3426-CC0D-7D9C-287877E6069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62" creationId="{FDED385A-670D-2683-5AA0-4262AA127DB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63" creationId="{53A1BC39-7CC9-5FAA-ACBF-52CBD511EFC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64" creationId="{D8CB61F6-89CB-554A-6D03-DA280078DE0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65" creationId="{34261304-C758-E935-FDA2-E54FB184368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66" creationId="{62B00ECD-A769-3C81-9186-3902B7B1683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67" creationId="{B7102C01-ED70-1B6C-35AA-2FB007C071D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68" creationId="{3874F77B-B23F-8308-BF66-4C75BAF6169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69" creationId="{2EEBD0AE-CAE1-2975-362C-1A9E799ED1E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70" creationId="{80A10CAC-801D-CFA9-059A-C7AEE7F9A1E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71" creationId="{5F59AAEE-F811-CE0A-CB76-AE568767FA8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72" creationId="{86030F60-7A95-41E4-B069-7C708F75541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73" creationId="{83BE3628-E8B3-DD00-F5E8-E102F9A888C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74" creationId="{E067A5C0-3E7E-CA6F-1FDE-6D7C066328F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75" creationId="{D048F9FD-D12E-512A-05B4-4A7CE4BD40C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76" creationId="{7C060360-55C3-37A4-747C-228D840DE34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77" creationId="{F055F759-BE4B-8840-98DD-266C65979E1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78" creationId="{EEAA48A4-20EE-3028-CD6A-765600D806A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79" creationId="{84650DE7-A849-5615-CEF4-BA0063C6499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80" creationId="{E7E3D744-1EB6-DF22-EE3E-4EFE4389A06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81" creationId="{5B4A8983-1CD5-D2A3-B3A0-4F7548C1C8D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82" creationId="{3AD3FEC4-5D50-553F-7F44-CC45881F119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83" creationId="{B14FA8ED-D7FC-6D50-BC3F-277091FCE60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84" creationId="{680488AC-19B9-1B93-D732-4B1B9444ACB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85" creationId="{E6724736-F768-A2D6-A193-242A141BEDE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86" creationId="{DF6E2132-F9A4-42D8-D13C-E73874470BD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87" creationId="{F6231DEC-4BB1-F370-FA16-D5FDFC92A83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88" creationId="{ECCDD89B-FDB9-13AA-43C3-DCD9B455C76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89" creationId="{6396E870-9A39-95E5-908F-4DCEDA0C846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90" creationId="{1FDE0887-2B32-5691-BD74-FC003B3AEEC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91" creationId="{2C58185B-E355-3A4B-5AD0-A5708852281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92" creationId="{CCBCD3C0-242C-E38D-588A-ECC7ACFA7F8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93" creationId="{063BCD9A-390F-08B9-FF6F-41BAD76B785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94" creationId="{733FAC70-2403-9422-F38B-49A9DE79592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95" creationId="{3CA598E8-9C08-6BEA-380C-9C53A065F2F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96" creationId="{EDE8B4E5-F3E7-D343-C844-874309546DC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97" creationId="{1E143555-8748-4603-A234-3124361CD11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98" creationId="{5FCCA474-066A-E111-8C06-F46F1BF92C8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599" creationId="{382A7402-C385-587B-7208-686AD7CD844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00" creationId="{9C0D7615-F7B4-9E10-BE5E-4D3639EC478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01" creationId="{029837D7-DF1E-3F00-36BC-71C0428F3C0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02" creationId="{7E3C545A-E1E1-5363-8C85-D7EF64D4BFF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03" creationId="{BD94EA32-47BE-E806-1306-E01FCC5A9EE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04" creationId="{18CB4226-3B68-6AB6-F0C6-8C0B8733A3C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05" creationId="{1C552699-BB1C-19D9-86B4-BB826E5FC99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06" creationId="{29FAE044-0FDC-C835-DBAD-32705011257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07" creationId="{5E4C7DF4-600C-E6F9-3AE9-B35A607525F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08" creationId="{9BF31794-B995-7A9C-56D1-7393BFD0EB8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09" creationId="{A377EFFE-6884-560D-3458-87F70FF9DF2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10" creationId="{0BE0B7DB-9CD0-AE77-4E78-7270387A531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11" creationId="{6A702118-C082-E768-05ED-AADA481F13F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12" creationId="{62C9C105-D92E-07A1-2376-CC9F54148D9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13" creationId="{4E1CFCE7-B800-990C-7958-95C4E119027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14" creationId="{C2D2B1D5-7888-FA6B-F71B-4B3B4ABE914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15" creationId="{938A0CCE-C862-8A78-9C55-67778896D85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16" creationId="{B4B85021-7C02-C790-7E34-E9D50B808B9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17" creationId="{BF303ACB-2DE3-9AB4-A755-8FC5BEFB3D7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18" creationId="{C566F5D6-23A9-6A3D-59A8-756A8CF3DB1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19" creationId="{C29383AB-D648-E904-21A4-29AD948291C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20" creationId="{2BCDF39F-340C-E5B2-FEB5-3EAE962CE17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21" creationId="{1C4FA227-4473-7F8B-2A7E-6085F53F188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22" creationId="{8FC2835F-E937-8CB3-5206-777EEED3FC8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23" creationId="{CBACDD4E-675E-3346-7054-0B7615C6B63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24" creationId="{3E366AD1-F78C-6D87-08DB-C60E516B0CF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25" creationId="{C07596A8-DA82-C373-451A-7D584BD0622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26" creationId="{12386500-CEA0-59C3-2804-BCC510093F9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27" creationId="{C8877DD7-7CD7-FF1C-048C-C567BE8283C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28" creationId="{DC2E03BE-AF58-0359-6FD1-84D7C33F5F5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29" creationId="{E88F9D40-3B46-E706-388D-987D0978842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30" creationId="{67C798C4-55D0-5EF2-B3D5-C64975E0CFA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31" creationId="{F038BA30-E300-1DFA-49CA-559E37E9B2D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32" creationId="{05E97FC3-8D17-1E2F-E3CA-906B27CDEBA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33" creationId="{C2A1FFF1-162C-2079-17E0-9D5EB1C5523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34" creationId="{58C17DE5-A117-5410-7DDF-4EA3BEDC4EC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35" creationId="{1079401D-BD69-851F-F8E1-82035F1561E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36" creationId="{A421C93B-C6FD-48D1-D50B-240A163195C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37" creationId="{CE2AF614-075B-C72C-0090-7CA02CC0B63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38" creationId="{5B5CBB62-A035-678D-AFE0-F054BC5F381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39" creationId="{D3D00906-528B-2875-8D75-8BECE9EFC36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40" creationId="{5457C946-0A51-B958-549E-D2D1F50F12A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41" creationId="{C413888F-F619-194B-C28B-A8BFAA3BA28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42" creationId="{733996D5-A6BD-4D57-1114-F5D6FFE3C41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43" creationId="{BF3EAC8A-2BFB-092F-4EC9-9D180019FC4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44" creationId="{A2782203-94E2-18E6-2583-B7328AFC17E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45" creationId="{9929C4B5-949F-1E45-58E0-72B799177FA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46" creationId="{9C5AAC83-F91C-4A44-B55D-DF73DD206F7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47" creationId="{B98E3BED-A324-C3F9-A7FB-378575B2A35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48" creationId="{A750A8C7-DB05-3BF3-EED7-751118AD96D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49" creationId="{5632851E-1E4E-3B84-63E2-448DC89DB4F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50" creationId="{A464E436-6133-DE5A-3018-9E408B5A77C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51" creationId="{0C3881DC-DDD5-E6F4-6550-3D8814C732D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52" creationId="{1F8C6420-2576-6EC6-267E-C9DA2F08F75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53" creationId="{E1D641F7-4EDF-47DD-720B-0E7DDF55363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54" creationId="{4DB0D2E6-4440-B6DD-9C52-419301B3988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55" creationId="{80D530E7-44A0-F3EC-9D59-4993C9B8B0C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56" creationId="{27E2852F-C549-0A6D-D16F-8F8546E7B90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57" creationId="{C45DDC58-9DDA-3984-25C5-1B2D7A8C96D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58" creationId="{8E811F8C-D5BF-259D-112F-2AAFBBE25BD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59" creationId="{44403FB6-5D89-DAC7-6CBB-8126D9C2AF7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60" creationId="{00C22306-4ACC-1F0D-50C9-F3ECD6777BD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61" creationId="{93B82720-95BD-D2B4-3386-215DEEC502F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62" creationId="{14EE2B75-70CF-5911-D114-13D90B34B68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63" creationId="{BEE17AD0-CBC6-EFA2-275B-B0727E814E3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64" creationId="{5801BA0D-0FB4-BC49-4E9C-A0DEC798137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65" creationId="{9918B65F-D54E-7146-88D1-5DBFC906F45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66" creationId="{011F802C-38F4-2418-7A7B-D1C76F442A0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67" creationId="{F35A5797-17C4-0DD9-B02D-2F8E4E921B7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68" creationId="{F156DAEE-9FF4-C39C-F564-46ECE7D57CA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69" creationId="{7757675B-0F8C-900E-C6D8-F87788D5CD8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70" creationId="{FE611BCF-25B0-6C9D-DAC8-499F0411289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71" creationId="{E73C79AD-FE94-7175-668E-EE67A20B1B5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72" creationId="{7603C5BD-B3C5-C7B0-AE27-E90E0CCBBD3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73" creationId="{C9BB9AEC-FC7E-E56A-C000-935C2C5B462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74" creationId="{30F12680-631C-1D6B-11DF-8A0288C06E3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75" creationId="{14D26AA0-F16D-E3BD-4294-9DFB6E7192D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76" creationId="{22754788-AF85-57BF-9D1E-91C2FA31EF6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77" creationId="{5F8A9F7B-F108-5BC5-977A-9CB12C381B7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78" creationId="{84D58DA6-F39E-2D5F-0395-09CA1D8887B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79" creationId="{58F91A36-7180-6AD7-11DC-AD03959A91A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80" creationId="{A60B9999-4947-FE8B-9EFF-3DF6A3EA753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81" creationId="{102C81F8-E3F1-ADB8-BD16-50CD7215031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82" creationId="{F39E13E6-85ED-D48E-BC79-B9EDD18CE0E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83" creationId="{1DE47F1F-D6B4-738D-4A36-82A7B65EB75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84" creationId="{BFFCF027-00B0-45B5-B858-6C929FEB42F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85" creationId="{059D0E16-951A-9E0F-0BBF-1370E9ACC52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86" creationId="{E1B5BB88-999F-BCF8-F683-A3D235C385F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87" creationId="{5721C6C0-BA65-8367-8525-FA3609FCA2B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88" creationId="{7E2FE711-F920-46D8-779B-A3846B854E2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89" creationId="{64AC27CC-FC4A-7ECC-0F0C-2A951EBDA35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90" creationId="{995C4F0A-E40B-16CB-BC6E-6A7C4187F79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91" creationId="{53A237E7-A39B-FEB1-BDBF-2E385288F8B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92" creationId="{675EDB08-7AD0-6C76-15D3-D89FD5D0DC1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93" creationId="{FDBCAB24-499F-DD43-C4D3-4013DD584D6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94" creationId="{568A4B7A-07E4-80E2-6420-75EDFD5112F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95" creationId="{429FB7C5-6C6C-1935-BA8E-30B985310FF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96" creationId="{B01E09CD-E6B6-BC1F-F514-5DCDCF6EF7D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97" creationId="{E1A9CA58-1D32-7CB3-3455-58CB864B080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98" creationId="{390F6652-36C6-6963-7AC9-CC2AEF83893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699" creationId="{FD800A23-6449-2C94-687B-25262E7395A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00" creationId="{5412F3F2-C462-485A-5144-3697BB37A18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01" creationId="{20BB72B0-AAF1-E0C6-4251-7E3C1AC4AB4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02" creationId="{BE296B9C-BF3A-31F9-B6D2-5BDB1E39766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03" creationId="{FB3D3359-ACD2-0217-8234-4F3AA9B7609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04" creationId="{47DC1F4C-D8DC-44B0-EA6B-EDD3CDC75F4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05" creationId="{2FF79BCC-D1A0-A3F7-72A2-6DA33A10F43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06" creationId="{BDF3C0BF-2291-C3F8-CC6A-B691C6203AB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07" creationId="{2C672362-BA8B-0274-8247-A00750069AB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08" creationId="{0E1BCA72-F048-D5ED-8D58-BFB8849965B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09" creationId="{D685AA53-D8AF-6D7C-044F-2DC6B7D66E5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10" creationId="{FCB0770F-5C45-2EC5-79E6-CDA582D018E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11" creationId="{73084B64-0EAC-8D0C-EDF8-E975B6387CD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12" creationId="{2A84DAFE-5BF5-CF7F-F988-6E38BFB16B5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13" creationId="{66FCAFCB-BC54-904A-CCE9-858EC5F972A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14" creationId="{C5622089-ED83-AF35-9442-86EAEE02E2A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15" creationId="{1C122BF9-321E-456B-1EDC-96794E401FE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16" creationId="{2770427B-EA37-F2C0-B656-95FA0744D45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17" creationId="{891027C5-DD11-8FD0-FDCA-712C8FE0DAB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18" creationId="{9D8ECCAC-1ED8-C81E-1DDA-8B8005E27C0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19" creationId="{C2111CE2-DC67-2583-F7C5-72BBEF5C3A6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20" creationId="{3C690C1C-EC20-5CC6-164B-61B5EB59C72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21" creationId="{341A61D8-EA00-0550-398C-82DF9366BAF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22" creationId="{198DAD4D-7209-C2F1-BB60-69573885CA7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23" creationId="{23EDA767-1595-C65B-F0C1-651DF2177ED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24" creationId="{3833DCCC-62C1-9382-7DDD-AB6E95BB4C2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25" creationId="{CEC2E9FF-26E9-0248-6074-05FB1B3F54A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26" creationId="{304D5308-A228-3A22-84C4-D1E85B91501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27" creationId="{CA93984F-EA57-F9DB-049D-FE65002F732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28" creationId="{29BE599F-5E24-0C52-1818-3265C1D75AD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29" creationId="{DE68BD6C-13E7-137E-CAB5-A9FC1792468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30" creationId="{0E8FF366-F163-53D2-DDE5-2CC9D10DF09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31" creationId="{CE333B60-1BC7-20FE-D79C-31F7F6D36CA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32" creationId="{3EF0872C-2EE2-F819-03E8-4BD3A53ED44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33" creationId="{51381593-10B7-C8EF-F89B-6DB56C61FDC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34" creationId="{CEFB048A-59DA-3015-F227-6DF61571728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35" creationId="{49768F07-31AD-08BC-A6D9-9F9F52C4ED4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36" creationId="{438CF35B-A5B1-95CF-E4F8-824E2AECC32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37" creationId="{2247CF89-B0CC-397F-F04C-63454E92A7A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38" creationId="{4625CCB4-46C0-04C0-3241-062BBB57DC8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39" creationId="{C79BB834-7446-3BE1-98A9-1AE2155744D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40" creationId="{452087F1-7F61-500C-5369-9018F68C97E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41" creationId="{3638E72F-D9EE-51FE-7437-731D78018AA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42" creationId="{6F97555D-8AD4-0BB2-3227-4FB038C33A5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43" creationId="{A7C72198-6B5E-DEFF-AA39-108DDCDE239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44" creationId="{B03C3472-A278-C89F-53AC-9D9E144E93A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45" creationId="{49EB8C9D-2DBA-0F55-CBE2-98BC9CC5415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46" creationId="{AF9A41DC-915A-BCBC-9A0C-D1124A71860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47" creationId="{882BB79E-8807-7D8F-2E14-D680EEA32D7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48" creationId="{77D53C85-1628-6114-1264-1A04BFE8EA7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49" creationId="{4982579C-9E4F-EDD3-1B1F-D243A6AB5E5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50" creationId="{3EFF3BD1-A2CC-2E9E-D147-12F860C8013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51" creationId="{1A58129A-B9AD-1402-476A-0D29051BC0E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52" creationId="{2186A009-43F0-6BE8-B2A3-1C6DEC3B9C8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53" creationId="{FD420253-A4C8-413F-1C62-250E2FCE8AE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54" creationId="{84E347E9-9DD4-B19D-EF63-3F0405ACF1C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55" creationId="{68824A46-15DE-E349-B520-FD5755841C3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56" creationId="{5528B6C4-75D4-3E8B-CE6B-FF94947AE9C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57" creationId="{84B8A076-91BF-D2B0-53B6-E4531DED5FE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58" creationId="{FBC65B81-C7BA-94B9-D290-727B701F71D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59" creationId="{B71D0FF6-9D97-03CC-DF2E-2F027014597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60" creationId="{1DADEBD1-ED79-C375-6C5E-5A93A525AF2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61" creationId="{6E98D97E-9308-FF91-5E86-8519353882A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62" creationId="{923CEF4C-CC4D-88B2-F537-6B3141A5F85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63" creationId="{51D7E3DF-8116-4CC7-159A-D499C22DFEA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64" creationId="{78547C05-2180-E8A0-195F-2C2B3C7D407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65" creationId="{047C417B-15EA-29A9-1CC1-51CBA7029C0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66" creationId="{828A5626-9A55-2E75-1A3D-78E0AA66D12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67" creationId="{3D534877-2707-792F-A834-A00DFEB04BC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68" creationId="{420DF412-6ED8-21DB-BE5F-8615BB9C378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69" creationId="{A5071930-4783-1707-D84C-98745C5F0E1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70" creationId="{73501F35-ADCB-8254-CB06-1E95C47BF85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71" creationId="{66DCB79D-71B6-BC66-25EF-726D9475D13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72" creationId="{962ED0C6-3112-A42A-CC41-BFB10BAD270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73" creationId="{29FDD86E-98F8-ACEC-268D-65C954BB7C0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74" creationId="{6156D789-A2E7-7614-4125-0F94A548124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75" creationId="{B63108B5-12CE-CE01-02E7-5BE4C84682A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76" creationId="{822A520E-823F-7FB2-12A7-CAC350D81EA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77" creationId="{01B51CD8-39AC-420D-359E-DA4E2738EB1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78" creationId="{0A00C64F-BF47-7C37-318B-49F2AB0CBA4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79" creationId="{FC3AC94A-8F21-F7C6-BC49-F2DA075A7EE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80" creationId="{4F72419C-B7E1-BF81-99AC-1CA46BF6E86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81" creationId="{07D230DE-5BFC-7705-E743-781EB2E205E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82" creationId="{C9551CEA-6BB0-5166-9EFB-BC9D0197763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83" creationId="{43BFE14E-6CA8-CC96-64FA-43931EE3216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84" creationId="{C664306A-7B04-742C-7DB6-CDFDD1DD7DF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85" creationId="{8C2FBAC0-D51A-1387-9885-6DB60848EBA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86" creationId="{D4E3F907-A888-6C9B-CA2D-137DBEF1547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87" creationId="{8BA68B5C-6BD5-8F87-3ACD-06FCE0EECA3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88" creationId="{96358921-B058-1347-C15C-BBC29DDA5E4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89" creationId="{BB824A24-D190-1CEC-E1AD-F70F609E507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90" creationId="{73F55608-DBB1-59BD-C791-02C718A6044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91" creationId="{180FE5A3-0E83-5739-C8E3-A2A72EB01FD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92" creationId="{228D10DA-0EAE-B363-3C46-0450754DC84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93" creationId="{53C40FE8-F570-D7E9-E810-B46370125CC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94" creationId="{F6A611E6-B879-D3F7-AEA4-3FF48A2379B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95" creationId="{A33FB39E-3939-1FE1-7269-D4A9954BD9A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96" creationId="{6EEFECCB-B63D-58E1-E133-BCC4E3F4055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97" creationId="{ABC7D444-9DCA-D1D0-DCF7-329141C1F07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98" creationId="{7B1E7234-D18C-72D9-2296-603E8E08A7C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799" creationId="{32C47F37-5FEA-FE49-4CAD-2E665084D92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00" creationId="{8919E24C-A834-AC6C-5D34-09D15033CB8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01" creationId="{E4D40C7D-AECE-D1A5-03CB-64979E35A8C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02" creationId="{A375E67D-80FE-B1B3-8E74-B145446AD05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03" creationId="{3C36098D-6ED6-C75A-E2FA-AC20B8AF4B0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04" creationId="{6E77F2AB-A411-3377-416D-58D5DDC4179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05" creationId="{1748402E-DC85-18AE-A62A-4AA30CB1654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06" creationId="{18C94831-A5C7-4BA2-7200-A8C6DFC88BB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07" creationId="{EE264465-D055-D18D-B469-31DCD6B0DBD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08" creationId="{E60DD42C-2F7B-DDAB-1505-7AB8B839ADE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09" creationId="{39D359AB-9461-AC1F-FDC0-B33868D82D2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10" creationId="{4D648708-93F8-E5A2-CC68-4AE72E75186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11" creationId="{4B0A65F1-3BDB-1603-B393-B3FF0FC739B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12" creationId="{5B7565CD-3AC6-E9F3-7291-81C094CE47B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13" creationId="{27668363-0344-D90E-83B1-32F8097C091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14" creationId="{0A38B0A7-7F74-8A6D-733C-668163E564C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15" creationId="{AE45DA67-0D70-7C4E-6E05-3B3742C7568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16" creationId="{1E7847FC-C034-7C5A-5278-EDE7184AFED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17" creationId="{A9157792-0C40-947C-A31F-4A3896FBFF4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18" creationId="{A735BCF0-C3AD-C0E5-0DFC-2167405FA1D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19" creationId="{7F6213B4-DD00-D680-F955-79F27F8DAD7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20" creationId="{17D0EEE1-678B-C62E-58C6-34A337FCC93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21" creationId="{895501A0-3308-4DC4-35EB-37CC3B16037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22" creationId="{000A8412-B66C-D6DB-40BD-29F08A36302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23" creationId="{51C29C7C-DBD7-EBC8-B74E-BB7CD44C2FD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24" creationId="{3886D8E1-1B4F-13C1-57D3-288C4EBB3A3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25" creationId="{D17501BB-DFED-DE01-819D-1C57E4F80F2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26" creationId="{0E2CA041-AD5A-14C5-2F5D-0727F66BE6C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27" creationId="{36073FB9-B79B-A3BF-1E85-F8945A07334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28" creationId="{93ED6746-C096-7172-3573-038A4DC6B06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29" creationId="{2AB6D1E8-2855-FE7F-5156-6F030493DE7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30" creationId="{246792E2-A107-EF82-7F8E-8BAA20DC31A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31" creationId="{20CF8031-0510-3494-DD1E-EBED98EBEB9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32" creationId="{1EF18455-D400-3751-61E9-A72AC3A6443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33" creationId="{37D5F0E2-9F3E-6F5C-C67B-7D06971C2DC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34" creationId="{85E80727-75C4-BEF7-9887-ED8952E282B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35" creationId="{4FCE81CC-884C-A7D0-FA0E-1F29C4D1896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36" creationId="{6F9F00B1-A623-7AF0-8769-5A1434C9638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37" creationId="{F0935012-E374-BB44-027F-B1E77857FE0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38" creationId="{9E9E50AA-60D3-CFF3-6CEB-A9FACAB327D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39" creationId="{A8F331F1-6419-EF28-3AC8-18E076E28D8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40" creationId="{E85F9157-84DD-2BEE-D41A-BE3015CC504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41" creationId="{B94CC661-1E84-20A3-9366-551F84AD0D7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42" creationId="{30C4E45A-B4BB-FC1D-53F4-0084DAB9034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43" creationId="{B357F502-FC9C-221A-D5B5-CE2054EDCAF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44" creationId="{3CD3E5A6-EA99-7870-D3F4-1BD2F7472C9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45" creationId="{3FDB2248-78CD-4E53-24B3-ABEFDE91671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46" creationId="{3E9B3375-C589-DB55-31C0-9D4F95698FB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47" creationId="{EC285A94-F119-5A87-0DFF-431C5443703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48" creationId="{BC2FD6E9-2CEE-2F92-13BA-5EB76D85718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49" creationId="{22ED0524-FFF3-7B61-CA8B-5A52E8CC26D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50" creationId="{85F5345E-5BB3-6A03-6C66-CE98ECEE334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51" creationId="{4D92D201-717E-8010-7A5A-34B2A0CE95A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52" creationId="{043CCA13-7F91-88C5-987C-93126D3190A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53" creationId="{355A69B5-B3B0-E670-E80F-615622BC164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54" creationId="{6EDC5A73-0367-BF67-C532-F02DF3DD0A8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55" creationId="{CD914CAC-7A39-C0A8-3B7E-82501B4F6FB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56" creationId="{FD9AF1BC-1756-C16E-E4CF-B2E6D3F120C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57" creationId="{1A4B3E86-ECEA-AD7C-B6F8-A3603F24D5B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58" creationId="{38AB3195-742C-9263-A6B4-69EA948F19D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59" creationId="{E914090F-AA59-7C1F-C22A-B467F4EE098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60" creationId="{CB258C4D-9F3D-025D-ABFC-C36DD2622DA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61" creationId="{F6125272-68F4-3E5C-7265-C662FD7F1E0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62" creationId="{74860291-D46F-FC61-8B91-9E4FBED5F4D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63" creationId="{3E9F1067-7D20-945D-D971-AD58AC66CD1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64" creationId="{C9679936-68D1-DBA4-8C16-5CC4051D3EB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65" creationId="{BF7C290E-9F85-6627-4340-4F01FCF4526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66" creationId="{AFA8907C-6936-219A-7473-9785E046248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67" creationId="{5A953B4A-00EA-D593-FD1B-F56B77EAF8E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68" creationId="{DBF1998F-737C-F653-2592-F9A48BB10C3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69" creationId="{C8C41ED1-F5F2-C99E-7BA5-3BEE1C7EBAE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70" creationId="{8D1B1FB8-8CB4-A67D-2519-98803912513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71" creationId="{DACE305B-D518-5FD8-72AB-7070E16CCB4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72" creationId="{359D3E3B-B7E1-F740-2FF3-FE1B3FBDA25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73" creationId="{06D4C561-0F08-C936-4BA1-D53932B7992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74" creationId="{BABFEB0A-8C94-DCA3-8CEB-BD0D09D2A71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75" creationId="{EAF9E07C-C4C7-3A7A-E564-229CBB46735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76" creationId="{9028C7BF-2C55-CF11-9B7F-15F39447425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77" creationId="{99FB6F89-696E-36E3-8061-BD11500C5B3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78" creationId="{F0160464-0740-8A9A-3A48-1A080A07E2B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79" creationId="{A0C02A51-CB1E-33D3-36D4-67F69720CD7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80" creationId="{E6FDC7CF-D293-AD60-CCD0-507020A1FE4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81" creationId="{208355B0-7253-8002-B608-560AF1D929D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82" creationId="{47AB542A-D73C-0604-BB44-7F55242B681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83" creationId="{2085FC34-F1F3-6F50-7673-C43E2F849B7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84" creationId="{051ACB68-C954-FAA1-1D89-26795BE7348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85" creationId="{8B99EB10-92BB-FA96-3449-E146067311C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86" creationId="{788B703F-0E71-698B-0345-327DDCAB724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87" creationId="{F0ACAC75-1F20-D848-3716-3608CA3D42F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88" creationId="{C8AAB889-A6CF-6A0E-A718-E1BA0264237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89" creationId="{21A0DAB2-F9AE-2FAE-96B0-882E79A44D4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90" creationId="{537A4BFA-5FCA-E430-C28C-1E8684BEB60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91" creationId="{4A5C8BB2-350F-1F39-1F8A-B02163FD36F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92" creationId="{FCD2E1FC-DFD2-F90E-AE6F-3F4E830BC9E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93" creationId="{2CFD9C4A-8C89-2B1E-BC4F-8B7E923C347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94" creationId="{6047BA73-C08E-0BA5-3601-AEE6C1194D6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95" creationId="{AA003406-DF80-CBD1-ED9F-466E616D170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96" creationId="{A23E6602-33DD-2CA6-5E6C-3314BA2E722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97" creationId="{D6175065-15FE-9173-9D47-250F58CA99A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98" creationId="{76D77B90-2C73-06BF-14FC-B33D50B1522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899" creationId="{49A8753E-6A17-FEE2-9501-6D22B6E8E74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00" creationId="{8901BC54-9C22-13E9-5A29-C6D806950AD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01" creationId="{74C540F4-B971-05CC-0F1F-8F79408B05A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02" creationId="{BFC6C136-C993-BA1D-DAFA-1CBFDD18DE8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03" creationId="{C0D2A556-9AEB-C607-2E6C-A1EEB89EAEB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04" creationId="{C8ABDB01-1DED-1678-EAC7-B10B3D9690B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05" creationId="{1CB3FD7B-13FF-C145-F613-4BD58F9BC00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06" creationId="{A2C13B13-C9E2-C846-3BEE-C669AFF48AD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07" creationId="{80DDCEC4-AAF8-7E28-FF12-D20FE601F37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08" creationId="{16A52D69-C91E-F161-11C3-A2A624566B4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09" creationId="{3C05A236-9C4B-92E1-E98E-1C2A00DB911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10" creationId="{22F9F12E-E346-CDC4-B860-913068A8414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11" creationId="{833AF50A-C67B-6C0E-7ECE-1475AB2F5E5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12" creationId="{095C3358-198F-25A2-39A3-9AE6E54FC70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13" creationId="{258C2046-1C7B-EF9E-CFC7-223B7FED226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14" creationId="{2C645B24-88B0-9AEB-E641-D7225438913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15" creationId="{0EF0CBAB-6C97-5699-7576-4015F3E4679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16" creationId="{FD03EBE3-3C8B-7570-CB0A-4F15056B2FB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17" creationId="{F4E344A9-8010-42A0-BA42-1A66415E4C6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18" creationId="{2E6BE25D-B002-0F93-F617-BE6E30F5EE4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19" creationId="{A24B68F7-D469-A492-BB21-112FCD9FFC3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20" creationId="{469491AA-5670-2FE8-4B82-EC45339F474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21" creationId="{831F1FAB-5B2B-5DEC-696B-4A84E7A1959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22" creationId="{17B2D72F-12A8-CEA9-F8BB-87754E68367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23" creationId="{289AA892-7AD6-3F99-289E-D930239F122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24" creationId="{860C13BA-E766-4B59-416C-1B961194982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25" creationId="{FF4E91D8-FE7F-1D44-D0F7-5B507B02281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26" creationId="{FCD837A0-F259-195C-9555-029789814AB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27" creationId="{16D34110-9E26-A991-564C-72F230E5E88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28" creationId="{5CC54923-8413-DDB5-24C9-01801EA2954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29" creationId="{29DC858E-D0D4-0B43-D78D-C068F3A468D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30" creationId="{2FFD0774-3315-C05E-4FDB-2937C8C95B5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31" creationId="{CB479F07-F98B-71D2-C38A-291C4925B36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32" creationId="{84408397-715A-263A-B85C-F32BFFCA0F9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33" creationId="{092848EA-4085-B77E-5534-798086CCE31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34" creationId="{B12008B2-966E-53BA-3AF6-75321C6FA5D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35" creationId="{8BBFB934-08E8-D01D-EEB2-A6AFA496244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36" creationId="{677B94E7-9503-C24B-3CEC-6E92DB08E96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37" creationId="{CA61A600-3DC8-3074-35B5-0E623667C0A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38" creationId="{2681C5DF-9D20-9898-95AE-3F4E6FE1F86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39" creationId="{B338E4F4-3D36-A242-8811-49D1E071B71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40" creationId="{70729819-7167-419B-E5F2-42FE19CB71C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41" creationId="{00AC0939-FC18-9A6F-ACD7-16725AE07AE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42" creationId="{64EF1673-28DD-E1D4-4988-8DD55C6C94E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43" creationId="{C9E3E707-DE0E-7180-145F-4D06C2DC9E1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44" creationId="{1CD98CC3-B971-008E-CB4A-149FFA83352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45" creationId="{CD34F494-A5F6-A61A-427E-9EE89742DA7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46" creationId="{4DEC9071-AF52-C239-EA5B-8A90D9B6386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47" creationId="{8CB12416-11E2-5879-C6B4-F5295E5266B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48" creationId="{624A879C-148A-EDC6-CA7B-FD8271B9A6D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49" creationId="{0CB42F43-3BCC-4350-2FA5-2CC6CBB37E6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50" creationId="{4CD2383C-BDFB-2901-DE43-E0AF1278409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51" creationId="{88E0D089-5C6D-2F3E-1BEF-0F045F747E6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52" creationId="{2C2884D9-50F6-913D-044C-66DBE4D139B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53" creationId="{6F088F47-2BA3-ACAD-307E-A3D510F381E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54" creationId="{370C2CF1-0DFF-6258-2D96-2160A907697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55" creationId="{3FC7BA65-1AFA-60DB-0A29-C419790EAA2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56" creationId="{27B950FA-89F5-EF48-03E9-5FF0E9093AE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57" creationId="{7BCE202A-0BD3-8580-2042-65E0C10E5D1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58" creationId="{9C05FEC1-9B25-3FBC-9234-808B3F00F7C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59" creationId="{F9551D67-FBC0-CA65-71C5-18D74195FDB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60" creationId="{C390DAF9-9AC8-A368-80DC-17D9C9C6FBF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61" creationId="{5E3C8DE9-8218-0D70-E12A-DBB8E715DC6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62" creationId="{0D5DD31F-534B-736E-3B8C-81DE95CC2C9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63" creationId="{0469C7E9-2A84-13BE-2343-5FEF2D7EF61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64" creationId="{2BD6642D-012D-266A-9443-97ACE568DF5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65" creationId="{C32DD4E5-0385-EBC6-9B35-2FEA720D128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66" creationId="{879C1454-426E-8035-6F3F-57926E268E4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67" creationId="{C794A16D-43FB-62CA-550C-EFE5CDF65EC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68" creationId="{B48DA6DE-D9C6-5D09-2955-FB0D47CE7A9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69" creationId="{6B5DF0BF-6ADC-4B38-95AB-862CA366864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70" creationId="{BD66ACB3-7893-A76B-B6AF-C91E6424E5E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71" creationId="{A01EF717-A681-CADA-6F30-2BCBF3D640A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72" creationId="{100128FE-1136-94BA-5B1E-A85F27C120C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73" creationId="{9E7335AA-A487-144C-6028-8F8AD54D660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74" creationId="{2A15D5F0-CF46-2892-9B5F-EC27EC33A94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75" creationId="{AF48FFBB-CB5D-9B7F-4C34-4C71261002E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76" creationId="{08ED1024-A4CB-B826-71FE-5B69C5C0D2D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77" creationId="{F172E508-CD08-2556-CE2D-46B9911FC97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78" creationId="{35E34EDC-C584-F9AE-B614-A58EE03DAA7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79" creationId="{631F5490-3202-0E47-5BD2-5DBC13E3D8E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80" creationId="{B64F9FB5-30C7-B83C-947A-A537FD13904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81" creationId="{F931AAB8-D441-8FC1-EF01-845DEE3480D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82" creationId="{EC1DF102-F965-3E09-3944-86EDE0AC86F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83" creationId="{B0C6611E-1040-1AE7-0ED9-6408E1FE140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84" creationId="{E06CD562-99C4-2671-82C8-B136BC42297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85" creationId="{74284EE6-145B-8835-5F73-A59060AF7B5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86" creationId="{42EDA541-2932-A7AE-54AF-C9B82889C16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87" creationId="{F71B8FA9-3E5D-9B7C-2B55-619A864A637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88" creationId="{59874FC1-D55F-27D4-F557-3FCBD1CB6B8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89" creationId="{E4E4C11E-F9CD-E94B-0BF5-B412C1CF6C6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90" creationId="{E5631EE3-3F9A-4375-6311-38A19971C43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91" creationId="{6853B29C-09A4-85C8-C422-FBB48E199E4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92" creationId="{28C7CFE1-47B4-6BFC-17F9-E3D5EDD481B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93" creationId="{41B8A718-2FDC-1673-AA8D-9CF581F316E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94" creationId="{A9EE72D8-FE3E-4857-D2CC-95925884547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95" creationId="{1140149A-2224-EFB4-E5FE-CD2238955BC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96" creationId="{F5A26739-75F0-CEA4-9EDD-A4DAF3A457E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97" creationId="{0558FA7F-C4CA-4370-518E-8E2BCC0DE6F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98" creationId="{427133AE-BF0B-3B0C-8473-B7F82D672CE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999" creationId="{A318647A-92C1-CC56-9EEC-7B52DC674A1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00" creationId="{5B3B27F5-E891-BFA5-39CE-555455D33DD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01" creationId="{7269037E-2D1C-8623-6EBC-D26FE198C6D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02" creationId="{AE93C28E-003A-E1CD-7CAC-1C2A0A94938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03" creationId="{F527AC65-412F-462F-B0A3-C9A0E91DE4B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04" creationId="{6A881D62-0F40-6AA1-3560-B711015F3D9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05" creationId="{88EBD73E-80FE-0696-C1AC-08B5C239D89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06" creationId="{F01928FD-ADC9-F043-B877-267913A8BFB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07" creationId="{9FFEA46A-76F3-E447-70DD-C66EA768568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08" creationId="{A82EAB6B-9DC9-5115-19FB-65D444BA6C1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09" creationId="{F1434B79-39C1-4744-D803-26E1A4A07C2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10" creationId="{B13D7087-A71D-9DD1-51BF-FE5FF11446E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11" creationId="{475EDBFC-A65C-C705-4A62-5BA7816172E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12" creationId="{57E8B610-4169-4F88-C9C6-6894C4CEA47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13" creationId="{9FA92909-C072-7FA5-CE8B-0561C3C46B8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14" creationId="{A2B75E41-FD8A-D20E-47BF-12DE7D2B7F1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15" creationId="{434F61A6-8459-3C23-96EB-1ECE132C97B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16" creationId="{F67CCFD4-02A2-DA64-1940-DF480C622F4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17" creationId="{873CAFED-AFD2-6902-6B36-958358D5FB0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18" creationId="{9B897750-5276-100D-A66A-DAF555440A0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19" creationId="{1F94EF66-927C-A958-D881-4AE3846D131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20" creationId="{DDAF712F-196C-41EA-7B74-BDE1D38C41B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21" creationId="{58236042-C065-33E0-934A-A798ACD334D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22" creationId="{8C24FC39-6F89-8863-0480-7335D7102A3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23" creationId="{17AA33F4-74FD-DBF3-05A8-30A551D889B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24" creationId="{C403D23A-031C-0CBA-D4FF-B727211D3A2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25" creationId="{01BD9FA2-813C-5444-FE79-DC97BF4563F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26" creationId="{E94DEEA1-E9AE-DBF4-2CB6-4B55130EF48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27" creationId="{B0899C79-48C1-2464-F447-763B8FE1E10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28" creationId="{2489CCC7-CB30-DACB-8C19-9E8B32E1148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29" creationId="{6BC2BAC3-A9E2-FDF2-A15C-4E2B32DCD27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30" creationId="{9EB2036E-2C9E-6C6D-7F4E-9225239E7B4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31" creationId="{413DC15C-F5F1-9957-0F48-5A583D4AA56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32" creationId="{E23AD490-39AF-006E-6597-40C0814AFD3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33" creationId="{6F9E18C8-8923-0BF1-90A2-546C3BB89B6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34" creationId="{94EA5FD5-FD1E-1605-5D3A-99AF28805A1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35" creationId="{B3611B6E-B6F6-6CDC-A3CB-931ECF3854A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36" creationId="{07B501B6-9830-A92F-EBF1-E6DD4AF7DF6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37" creationId="{8F3B47D9-A470-225D-000D-AB8C549CC4E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38" creationId="{F050EC31-4599-0E6F-213D-A9CF3FEC98D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39" creationId="{79F1296B-D4FE-6E4D-D546-CDDB86E9877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40" creationId="{A6015150-55E6-D0A9-53FE-5292B86D863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41" creationId="{AA135E49-A6D7-4EAD-8C70-65500057447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42" creationId="{39E71778-7E8B-D3C8-80DA-953D19913A4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43" creationId="{D8480396-CE45-D1C4-E968-CAF32F3478A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44" creationId="{EE594567-BB4E-8C2C-77D7-821F400A444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45" creationId="{0345BAF8-E9C4-B522-50FA-784D4768D15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46" creationId="{72A6164F-6626-724D-F154-92E126D09C3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47" creationId="{C321EF00-AB9D-FE9B-886E-C37599F64BD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48" creationId="{99395C96-4D8F-7070-DCCB-E665903345F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49" creationId="{2C624FB8-6FA8-2231-1ADC-C9475C73BA9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50" creationId="{46021018-69D0-F34C-5552-2A8C6623102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51" creationId="{C5819161-4188-75E7-2BC6-39E1045745C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52" creationId="{50A919F1-EA2B-DCD5-90BE-04555D6333B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53" creationId="{0DC34F21-E52A-2662-454E-36E54FE5F17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54" creationId="{5AEBD0CA-E910-C58A-4F23-C0E6FAD8211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55" creationId="{AC1D6636-7F33-D9A1-1EED-21ED1B3C73A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56" creationId="{0FC54459-303C-ADC8-BB5E-EE094CCDC1E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57" creationId="{97585184-13D9-990B-D626-4A186993FD6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58" creationId="{700E8B24-0F23-4209-DA22-43485A35667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59" creationId="{EE0943E9-9C8F-CFF1-A88A-81D8A636E6B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60" creationId="{E34A3FD8-8A00-E085-5139-DEC5D0F0ACD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61" creationId="{008396CB-AE1A-70A3-132F-4E7F4A9856D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62" creationId="{5BBFB23D-B344-1066-5B7E-92E91BE7B54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63" creationId="{33B03490-62E0-18EB-5B88-4ECA4B51BD5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64" creationId="{B955AD1B-E839-39A7-A4BC-81D1CD77A63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65" creationId="{4A5C1D48-ACE9-9844-4D1F-7879837F2A0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66" creationId="{428C2EF6-0353-64D9-F200-5C718928084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67" creationId="{0DF8F4CD-3E8E-97D3-9B3F-F0DE65359B9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68" creationId="{E659FD6F-7D28-0E33-ED06-3736772E8F4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69" creationId="{210E6814-5D88-0DCB-CFEF-B759E85F909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70" creationId="{33974AB5-F0EB-BE54-DA00-199295443F9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71" creationId="{095F25BF-4ED5-23FD-B68C-E3DDBC881F0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72" creationId="{65231199-80C3-4CCD-1EF2-324F47637A0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73" creationId="{0EEEBF54-8922-B370-F859-E785C07D988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74" creationId="{1399636C-84D9-CEF1-D22C-C3E7EBA5B0E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75" creationId="{9A0C3B87-F942-B4EF-B808-5595255EF66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76" creationId="{6C0F49A0-0255-6DB9-E0E2-BE6D358CB3E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77" creationId="{1386008A-8F88-3F94-917B-2F1640758D5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78" creationId="{A09E4AA3-5F31-2567-7B16-1E37A1D49EE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79" creationId="{75C048B3-F19A-8D81-D5DB-92E8FC7948E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80" creationId="{3BCF030A-60D3-23CF-E4FA-330826B540A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81" creationId="{67AEB736-C6DD-2518-75FD-D3CB0D09C40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82" creationId="{758B7636-96D4-FA0A-3B78-8C462644787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83" creationId="{9CE27071-A628-9A0D-26C7-4F15A2CD4DB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84" creationId="{8B5DBC8E-24C7-2EF5-260D-A09A6190260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85" creationId="{37A55C50-3344-933B-54B9-A68BDCEA6AB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86" creationId="{F7D3CEC4-1B89-69AF-274E-F20A1AFDC98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87" creationId="{2D8DC980-272A-8C1F-A0F2-600330E01BB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88" creationId="{28AD8121-AB46-AA67-A53B-6AD5E2783D5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89" creationId="{14E3C463-7DD7-190E-8F63-408CD262B80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90" creationId="{33E9C3EB-5C99-B923-D884-A275579D878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91" creationId="{A57171DE-1F63-BD51-A6E1-830D2D48FB6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92" creationId="{1FC81737-0DFA-7FC0-CB2B-7FDFF32EC23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93" creationId="{BCDD9E4B-35D6-5611-9520-BEFF4440127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94" creationId="{728B8758-1E2E-D334-ED0D-83C851F20D6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95" creationId="{36326ACF-74D3-9670-CABF-32FC5CE2E58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96" creationId="{168B3ED9-C247-65E7-E1F6-BEDF81F3F2C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97" creationId="{2E5D0111-4BAC-3FC8-07C1-09760EC34A0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98" creationId="{F6E322EC-613F-447B-7316-B7B84644B11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099" creationId="{A4E4B578-C3C0-7F56-373D-C5260CB86E2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00" creationId="{9DA38BB6-8A98-1BE0-66CC-57CE9A8C9EF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01" creationId="{D6847011-18A2-A3AA-80E8-597A64840F5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02" creationId="{CD89B6B5-4E48-775D-64DA-224E83036D7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03" creationId="{68AC14A2-FFD8-E99C-D311-EFE13B41399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04" creationId="{C6EE37B3-FA90-1094-EC44-3DC3E031002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05" creationId="{2853B63A-E6D9-ECF1-605C-E3738829CB8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06" creationId="{883C2BD2-54B2-B751-9DAC-4BC15130524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07" creationId="{8A71B114-C1CE-D6F4-201A-5907D868264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08" creationId="{7685B450-C861-B0A2-83E0-7149F8302F7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09" creationId="{B83460E8-9B8F-C65F-4376-9D7B7684BF9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10" creationId="{E172EDAC-27CB-59F2-FBA6-A83C28A51FD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11" creationId="{3E3ED6F6-32A2-4452-0C26-A5835BC3273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12" creationId="{5D424541-7EB2-20CC-7135-468E8D2C78B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13" creationId="{2DFB437F-1430-74DA-365C-76B8E768481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14" creationId="{A0C94452-F51A-1CFB-4CD4-765DA6E7D9C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15" creationId="{1507465B-5D19-EB5B-7F0C-E724CBC7014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16" creationId="{8EBBC804-E7A3-D280-A802-E21EA6D45D3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17" creationId="{D6AC117E-3C47-E8CB-9AE9-68B30540195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18" creationId="{9856F7E2-0414-3B69-3953-450FDC2D203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19" creationId="{17A4DCE0-BBFE-0132-F4AC-77A049C7244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20" creationId="{9F074337-326C-CDCF-AE5C-A44239B315A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21" creationId="{072E81E9-34C2-F470-7733-0AACF9408CD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22" creationId="{B1733591-4902-CCE9-C027-F64FE31EFE1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23" creationId="{CBB53635-A9ED-7420-79CB-A8CC82765A5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24" creationId="{704FA1EB-08A2-83D8-76CB-6086571F684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25" creationId="{C932DD29-C26C-41F2-4EE0-C54D0224A6E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26" creationId="{EB192D3E-ED46-6322-FF84-CB20F57CDCE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27" creationId="{5B7856A3-D0CD-DF34-9816-65279ABB9B3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28" creationId="{C048547B-77D8-B4C2-A7D5-829FA924844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29" creationId="{39014DE2-D0BE-EAAE-0928-BB2B00D3675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30" creationId="{926D4E2A-949B-6A7A-EC98-62A29205BF8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31" creationId="{52A80B2D-A570-CB6C-3712-1F73A8A5FDD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32" creationId="{A8BBB1CE-6648-803E-BA0C-CB018307A75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33" creationId="{FB1C8423-7AA2-669B-BFBC-D64D35F4EAA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34" creationId="{90771685-2ACD-9350-21D1-C5543F82C29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35" creationId="{1A551102-0E48-E520-3D9B-7A013627C6D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36" creationId="{4457984A-E142-BBE4-DF11-41A92BE5699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37" creationId="{CF2108B9-224C-5D35-87E3-E55616B4899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38" creationId="{A0FE36F8-35A4-D8D1-AD46-41A389E8480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39" creationId="{3B88F522-AAAD-1B11-F54B-A5A7E52B3F4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40" creationId="{B12CC1F3-5E5A-294C-FD27-CA6766C4F21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41" creationId="{F84F583D-C7C5-F8DA-F27A-12DD74F4283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42" creationId="{D5D2050C-1BEA-3F1E-43A0-7A2205C6826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43" creationId="{7BB31ABF-7E63-1528-BEA5-D1D69EA139F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44" creationId="{751BA039-2651-4EAA-51A1-0D28BF546DC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45" creationId="{FA93E115-210A-E1A8-7075-7A029C87586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46" creationId="{A02C9951-4089-2B65-16E0-F4BB6454D8E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47" creationId="{3CEDF986-E3A2-4883-6E3C-1D7ECF1FC7C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48" creationId="{AE233115-6CAD-684E-90ED-7A2A01A2B5E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49" creationId="{3F8E5801-67C0-5C18-72BD-43CD7932595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50" creationId="{4350A110-99D2-326C-5898-C9D24302103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51" creationId="{0DAC511C-76FF-CD2C-A5CD-343596D9581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52" creationId="{5C9B17B1-E5D9-8508-203B-E2535F2DFE7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53" creationId="{57DC509A-0BB1-028D-2565-E104FF4F431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54" creationId="{DF9DBF3C-8B92-D41C-4F0B-14E47BEF863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55" creationId="{C8BDE05B-2900-883B-3F3A-D2B20BEEE71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56" creationId="{F41679C6-49F1-5B1A-D188-5902C20F44E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57" creationId="{D98553B4-AA8B-1AB6-BCFB-179EFA16691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58" creationId="{DBF123DD-EEE9-360C-A004-A5973EF14B9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59" creationId="{10ECEF63-5B15-FB93-722E-F108481CC4B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60" creationId="{DE25E700-0917-07AC-87C7-D631DECF3C6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61" creationId="{3F0417E9-2F8D-268B-8864-64C5FA46CB9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62" creationId="{F7495763-B159-98B3-CE81-78FF42C6C2A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63" creationId="{8CFBB457-E817-F7D9-4576-79922ABD107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64" creationId="{B27FBCD5-FD15-D4F3-D6F9-A3A6A4D3768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65" creationId="{60AA3AE5-ED91-1113-439C-0B4B8ABA54E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66" creationId="{0E91AD8B-5162-CF85-197D-0239A81460D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67" creationId="{BD6A7665-B82D-75F1-5A85-29CEF3C281E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68" creationId="{FED09A3D-A882-6B02-D388-0B294FB34A6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69" creationId="{8CF1920A-9014-FB04-473A-010824730D8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70" creationId="{B7EB0954-981D-09CF-5D34-24158688651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71" creationId="{FC61095A-551C-90D5-6F7C-5D5F05A2879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72" creationId="{9C80FD26-9592-681B-E5E5-724FA092A55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73" creationId="{E3298A3E-D6EA-1783-D369-AF8C9BD4B63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74" creationId="{E8A9D3FE-4DC9-C125-415E-5ACF1CC3A63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75" creationId="{596DB33C-38D5-D0C5-8D6B-FE938FE09EB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76" creationId="{CFF3357A-B455-B70E-EC53-41B41CDCD5A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77" creationId="{8DB7C7E0-4CA3-7B69-1424-996B9A355E2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78" creationId="{EE0D0F61-1187-435E-F4AC-B70406E361F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79" creationId="{86A1491C-4FBD-A13A-F40C-2A25E8E37C2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80" creationId="{505F2763-0D3C-5513-0104-85E70EC757D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81" creationId="{6CD4795D-889F-5422-465D-DC6C574AF67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82" creationId="{EB46372B-C800-557F-5188-05C80A0BBDB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83" creationId="{D3E1FBEC-3244-EBA0-AE05-92C113D3D09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84" creationId="{CDC46158-8C2A-8988-079C-355FF833D82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85" creationId="{7330A2D4-A3C8-89A4-77F4-3497A941A69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86" creationId="{5CB218D3-D654-B966-CE9C-C6CFFB23C92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87" creationId="{57DF2830-FF9A-7ED0-BB61-FF14C7AADFF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88" creationId="{B954B5CE-B5B5-EBBD-B3C8-D7415200DED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89" creationId="{F1C722F1-75BC-5E66-9CE5-2E8D5339671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90" creationId="{9662D043-ACD6-92D4-66CE-D5B42EF45D2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91" creationId="{3D53EA1C-934C-AE7F-9DB9-890E9072543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92" creationId="{E23CF4BA-72FC-F509-A1A0-F5BE8BA5E3A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93" creationId="{8F366BE1-64E0-C6B4-A187-EB928774053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94" creationId="{E6F813D6-0C5E-04F7-02C0-1A787EB4246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95" creationId="{5D118B36-50D0-3FE7-B921-0E0FC134606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96" creationId="{38E72E14-0D68-284C-BC18-7B0E36091D0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97" creationId="{54172FA1-92CA-DB48-388A-1662123C176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98" creationId="{13F1A2F5-8D4B-0ECA-B624-6F6BC1634A8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199" creationId="{A487A189-2298-4858-EFD2-DE4C47517E4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00" creationId="{942090CD-8CE0-4549-658E-AE28EFD058C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01" creationId="{3236D8F5-05F0-B0CC-EFAE-6FBF75D2AE4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02" creationId="{517FCB65-7FA4-5D3E-124F-C0896C62BCE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03" creationId="{E799441B-971B-1E62-BC13-486B7739B78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04" creationId="{97C264BB-F227-95D8-CB5B-070E9B89E53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05" creationId="{AAD69523-99C6-916E-61C1-C165BDE067D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06" creationId="{C7C65D1A-D615-2CE0-0F5D-E72A9C96045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07" creationId="{4D96A966-ECE0-F644-B502-60A00D57A9E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08" creationId="{920EC6FD-CCBE-0029-A478-8B476C61B30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09" creationId="{0CA89F8F-5D5B-35F8-D109-3771132D505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10" creationId="{D6E5C54A-A6F2-C20A-F4A3-F94C732AEFE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11" creationId="{40082422-9AE9-5F8E-BAE8-20A851C863C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12" creationId="{6432E5AF-223A-9D09-8921-4A23160FC4A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13" creationId="{E30BE3F6-C32F-BE9A-E453-D62084CE9AE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14" creationId="{CE9B063E-0759-B8E0-87E6-2B54FB32A65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15" creationId="{04B4A964-5DA1-77CF-6CD3-F30B31BDC14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16" creationId="{B91855D4-C52D-D106-4E30-0EFD976186D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17" creationId="{ECFC8485-7C62-97A9-EEE1-8B51482FCFF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18" creationId="{7DF22428-1210-4D68-9334-4D55A60B74E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19" creationId="{72BA6F5F-87E0-2713-7447-A6B6AC3FF49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20" creationId="{AFBD3D9B-6253-13FE-3F29-8C06DBC218D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21" creationId="{DB142E4B-7E54-4E05-ADB5-7A3D9CCA1D9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22" creationId="{11370199-3337-48DA-AAC5-47A39E96835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23" creationId="{B20D62AA-4F54-3333-FB7D-89380FDD6E5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24" creationId="{6383D828-B42A-9F7B-5FCD-A53919D5D57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25" creationId="{D9BB992B-D5C7-35F1-3958-33E9E367270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26" creationId="{81D39CC4-1ADC-4CB7-7886-12A804690F1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27" creationId="{1B254BBC-03DA-CBAB-0DCC-267D36A0311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28" creationId="{E5B1AE37-E4CB-1092-AF0C-2E4EC4E6DA6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29" creationId="{50210CA4-2ECD-5317-FA4E-F301964F95D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30" creationId="{40A01DA2-C6A4-EC64-D802-8C8C56A9682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31" creationId="{AB812FEA-AAB5-0CE9-A9C4-F935A802042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32" creationId="{8E08A72B-48C0-852A-26F6-FB13428DB39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33" creationId="{8BBA0A07-FC39-D68F-0E82-A563456AB4E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34" creationId="{9FDAD4FB-DF57-FAD5-32B3-501FEC4F609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35" creationId="{485A15BE-FEC1-11DE-ADF3-A5E15C44578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36" creationId="{7045E302-0306-164A-2EE7-BFFEB274411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37" creationId="{77B4FB7F-E798-DB1E-C28C-22E251E50AC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38" creationId="{0A6D6114-D10B-573F-4824-E81A3D47E87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39" creationId="{F8904D53-3905-4AEE-A7D9-068A71D5DA1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40" creationId="{A095ACBD-3C31-3808-17B0-1E05E4A7471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41" creationId="{0473AC76-0113-29D0-ADD8-623D9516130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42" creationId="{17D85E04-ADFC-F12D-47CC-B3A3A7DCA27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43" creationId="{8037AC1A-4D9D-1012-2666-1C64034C292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44" creationId="{5F3A4736-223F-3137-CBC8-902775B9F4A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45" creationId="{020A89E9-79EE-E69E-6C2C-4191735A166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46" creationId="{5ED5CAE1-4220-F12B-3B0F-F0813B909F9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47" creationId="{68989990-2A59-F05D-24A9-0CCDDB7A8B5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48" creationId="{ACD80B66-DFA0-ECB9-739E-6DB8A445CCA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49" creationId="{73EE0CCC-DE20-E910-553F-60D711B3308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50" creationId="{B9EEC10C-F6B5-CCDA-C9AF-D2EFE9523E9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51" creationId="{EE0FB433-7321-8DA4-C386-5B0452E6FC0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52" creationId="{F4CF635B-11A8-91D0-3B64-E5F6FD8C5C3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53" creationId="{95166808-6638-0AD5-0F8B-577E8239CA4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54" creationId="{5EBD1EB0-7AA1-299B-8E53-D51EFC4A797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55" creationId="{0C04FBCD-E937-6FD3-4662-25D9C05C929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56" creationId="{308F4CD1-9F95-43E2-6CE9-1DAE6D58EA4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57" creationId="{CC9EAF62-328A-09E8-E719-63C7E6D232D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58" creationId="{4822BFD2-9454-164B-90ED-EEC0EDE907B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59" creationId="{6CF6186B-B6D7-6116-1744-A47581D2C67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60" creationId="{6558F0C6-69B8-3F7E-C25C-325F6CA4BAC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61" creationId="{6E2634A2-D5A9-3EAB-145F-A2D13E0890D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62" creationId="{5F21A8AA-44D6-7E47-509C-F4BA1633DF5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63" creationId="{89FD6601-BC98-B1D5-509C-BF2D2C6CA7B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64" creationId="{F09662F1-B9AD-608F-0CE4-4A656699A4F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65" creationId="{19F996FD-FADE-7279-55ED-93A6AB93C9F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66" creationId="{29A6C897-74EB-0346-DA27-20148D7D177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67" creationId="{D5672B35-9D51-1308-1AA7-28940638B4A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68" creationId="{807C657B-8E06-D24B-7DB8-6E6B640A111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69" creationId="{9BCD3007-77BC-7EE4-B116-ECC2AC2D378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70" creationId="{C2ACF4BB-429D-EEC0-ACDE-D342CD42E76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71" creationId="{FA5BF96F-8268-7763-76FE-8CF7036F955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72" creationId="{1EB91B94-B201-B764-D63B-D3EE1EC068F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73" creationId="{2092D51F-BBE8-0CA4-E023-8D93F4D08F1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74" creationId="{AC5A7F10-8FF1-72DF-E6D9-DA2049EE3B9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75" creationId="{8368B307-68CF-3D7F-6DE1-68F306775D7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76" creationId="{842FCAEB-A79C-498C-0D03-01BA7586D00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77" creationId="{2EAA847A-F920-DDC0-C2DA-139137B4A7B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78" creationId="{EAE21E27-5302-F4D2-8B06-772673F4EFE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79" creationId="{9AE49F4F-1049-95E9-C775-37BAE10F244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80" creationId="{9C11B320-B576-8C3E-7AA1-B65FFE3B55A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81" creationId="{DF2942D4-B0DC-D31A-C5BE-89214DDF0D0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82" creationId="{9743804F-55AA-3E75-1B28-82143EE2441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83" creationId="{75D32B9A-9CED-5805-1F01-454BA952AA1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84" creationId="{00DE4A0C-C874-239B-6C5C-DFD79F2245C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85" creationId="{C1CFDE17-FF41-E286-9031-B2D8A8ADE45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86" creationId="{5301EF8F-A714-6318-1336-6131354F02A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87" creationId="{12E46680-046C-9D04-4384-0D7ECD800E5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88" creationId="{67E1A555-382C-AB01-2449-5A8F4EB5368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89" creationId="{EC6A327E-D881-07BB-73E9-9437C3FDA12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90" creationId="{A7C9EFAE-0D4E-35D8-4245-6EE3B5B1C46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91" creationId="{05BB36D8-2FFF-73FC-6A93-268BF695683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92" creationId="{4A918E6B-3117-5807-FCF7-F18616F4477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93" creationId="{B0E1A6EE-FDE5-D2B1-308C-47451E4DC1D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94" creationId="{4E0B4636-446B-F021-C16B-A65B2CC6689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95" creationId="{41E7FED0-4883-A93B-FE4C-F416CE94F5D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96" creationId="{8FF4A40D-3B38-0CE0-4C55-C9696EBED1C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97" creationId="{014472AD-8C10-4AB0-CBA8-23C1ADA3D49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98" creationId="{4494B3AD-40A1-5087-1899-2358C6B2857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299" creationId="{EF4231F1-9AB8-1414-F585-2D00CB58A1A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00" creationId="{787B62C5-70D2-DD1F-90E4-768C13A4F9E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01" creationId="{B32DBCFD-18C0-A6CE-904A-C3630E32F23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02" creationId="{A2B9AF8F-C933-835B-4CDB-04071A52626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03" creationId="{3CE5EF33-D315-AD86-1F71-76CD04BC697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04" creationId="{7B5FE6A5-5281-EB77-4422-5B5D080EDE0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05" creationId="{5E90EF3B-1BB0-BBB5-0705-CD3CE6D4F10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06" creationId="{FBA7DB2C-6FFC-0FFB-D0A1-DACE07D3A4F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07" creationId="{7D1F21A4-C081-5CB6-FE31-189C1B7896D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08" creationId="{D3AA667D-221B-BF6B-CC7C-60CA8FC21AA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09" creationId="{F87490B0-210A-0E99-547D-2EF5F44E99C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10" creationId="{472268B2-F48C-D9A7-9CC1-93429E92050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11" creationId="{DB391989-0E69-C044-75CF-68C2B8035DF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12" creationId="{E691DF00-F496-91AF-E6CC-6413D9A95EB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13" creationId="{061B7634-80EC-FCDE-2640-C87121E4942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14" creationId="{0613FAB4-2DB2-6572-25A6-F08F5F90F89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15" creationId="{CD8ECF96-82AF-9454-A096-775CD590B38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16" creationId="{2F687B77-E8CD-D837-6F6B-86AF25E1C87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17" creationId="{74B670B3-21D5-8C23-CBD6-B995FF78DE9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18" creationId="{0349014C-C7BF-9065-6BD4-9622F9D761A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19" creationId="{A7032FB6-4C89-08F3-7BE7-E9B08B2525F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20" creationId="{2D735794-90CD-3BD6-8D01-FAD30724365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21" creationId="{D79DC94F-192A-BE4C-FD72-0E44322259B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22" creationId="{4510BB5F-A4E7-C368-8E0B-D8A83C0271A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23" creationId="{9AF6DD45-04DD-2F42-8875-9006A2C63C9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24" creationId="{D0450E7D-F548-3E8C-40F6-2E31A827E4E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25" creationId="{98C1DAFE-1CEB-49E9-6803-DE7E1E6B65D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26" creationId="{8419398C-3C16-CB1A-E32B-E2A351EF4FB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27" creationId="{743D9BEB-6DF0-FD56-1CC3-4229C68538D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28" creationId="{BAC0FE81-9D0D-40EF-DD36-DC7D1B241FC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29" creationId="{DD71E3DF-2309-4025-A95F-96A83C8544B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30" creationId="{5A46ED9A-71C4-14D6-89E6-EC0F33CE871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31" creationId="{8E9BE153-02BA-8593-65E9-D4161D443FF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32" creationId="{F6E71C2B-12F8-7376-3268-A518CCC2A79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33" creationId="{CB3E2D17-2D96-B55F-745D-09D64764832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34" creationId="{B2D370A7-3ED1-63F4-D0F5-BE0D0E568CC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35" creationId="{8B2FD442-48A4-3C0A-E92B-A2DEC35F123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36" creationId="{C037648F-9BB6-5C2C-BBFE-15D577071B1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37" creationId="{A19CD292-37F8-5A27-14E6-E6D387BF3A3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38" creationId="{8F364E4C-9E5F-2B9B-D3C7-2C9D42DA6E5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39" creationId="{96881E11-3607-176E-72CF-A8DAC65EF7B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40" creationId="{3431C22F-90D2-C6BD-AEFF-B0D4A04A719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41" creationId="{B463BD52-DE63-1427-B36A-E59F2EA9618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42" creationId="{9756EEA4-DB1F-E58E-A4F8-420E061CD47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43" creationId="{E118A04A-E59D-0BC9-92BB-931654A96C6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44" creationId="{8DF429E4-49B3-99C1-8111-DDA78C87970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45" creationId="{21D57847-4609-A1FA-4792-74960CCB7A2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46" creationId="{04D95341-0F94-8171-B677-9CCA8848B8F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47" creationId="{21C10C7D-FFC3-42B0-4818-8B70F017117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48" creationId="{0176287D-7F49-F14C-335C-7F565A63A0C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49" creationId="{7E2E6171-F331-947A-55F0-A408F13E590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50" creationId="{A075B38F-3FA8-FDE1-F36A-BA9CE4AF69E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51" creationId="{1D80037A-4AB9-1990-222E-36B9863D9B3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52" creationId="{38A25C16-ACCA-3403-5ECB-F9224A6BF12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53" creationId="{1B5C5134-D30E-1F00-1BE5-E3B22F7B508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54" creationId="{B0E01E91-3155-D6ED-CAF2-F6FC99D921A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55" creationId="{07309C11-B4A7-3FA8-3F9A-A2D43A84F34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56" creationId="{0B2EC179-8CCF-4D1B-C7FB-74648DE8EEF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57" creationId="{BAAC6554-EE36-5985-1957-4A314F7109C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58" creationId="{B3D1EC53-BD39-D251-E8A7-C2F1E9DD1C2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59" creationId="{995821F7-C32B-278C-6E14-546BC79B2BF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60" creationId="{C40585CB-2BC5-5EFC-D46C-39659A35C5D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61" creationId="{21684C10-6707-5E4F-0339-4DA2C1D941C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62" creationId="{5C8CF921-BF1D-0ADC-661E-841DFEB0493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63" creationId="{D4DFCC8A-42B4-ACB8-BDB0-0B73B3DF80D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64" creationId="{69A2C741-E295-0865-527A-CFE3A2CB4B1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65" creationId="{E7163B73-B291-6214-7584-CACB1713A12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66" creationId="{85338704-69FF-C937-7EE3-23C5D1B94F3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67" creationId="{DE41D8D3-9981-F014-E915-F354D8B2E4B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68" creationId="{12D15624-2FDD-3B24-8879-A89E2B92CA5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69" creationId="{9439A31C-9958-6340-8B57-6F6E6F20607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70" creationId="{630A8D20-A90F-4A24-B880-B4E64687C0D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71" creationId="{749E288D-D932-4072-F864-78D0CDED09E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72" creationId="{0B0F9A38-8A8B-F810-578D-AF37203428D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73" creationId="{D15E919A-D29F-C392-3E5E-AB967CDFDFA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74" creationId="{262D6EF7-8149-E5AE-B9AD-3085C318DBA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75" creationId="{979C60CA-709B-EB1A-6FBB-3A0404E0A31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76" creationId="{BF1BC0A0-443B-1B1D-414A-7ECEA609BB8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77" creationId="{EC7A10AC-3236-8B74-EF89-207B1BC9429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78" creationId="{2A0967AE-800C-C230-2A55-A0390EE4D86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79" creationId="{99EA9AEC-2617-4BEA-6DE7-B8B9C9BC158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80" creationId="{231A3236-E784-7A80-B858-846338476A2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81" creationId="{188A67D6-FD21-4B1A-95A7-E90FD36C9A0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82" creationId="{7E2C8AC8-276A-845C-F3E3-718DD6F0060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83" creationId="{B5D91F72-D461-D494-2E0A-FA40DF4251D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84" creationId="{72DF759B-BCE7-0B7B-4D7B-E1CF7D4ECC9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85" creationId="{F0EBC965-95A2-0D9A-A82E-AF9EC81DE9A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86" creationId="{DF5623DD-EFF1-A55A-BD33-A548080BCB6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87" creationId="{C0047CD1-E11B-8265-3719-69FDECAC60F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88" creationId="{39BC259C-CDAF-6D66-A139-451B004AC8E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89" creationId="{31E83314-8FEE-1164-79DB-D0270A8FC4A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90" creationId="{6FF97153-49FF-5EF8-BCA6-5C1376F1F21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91" creationId="{7C87A417-D6FB-219A-5B74-249054B4398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92" creationId="{5B7D548F-F9E8-C4AE-1200-28E90996532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93" creationId="{30C7917B-57B4-5662-A47A-D41DE717B83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94" creationId="{A5D2FF83-EA1B-624E-2124-F466115A67E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95" creationId="{F8340604-6261-6CB3-E6D1-2F08A98E54E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96" creationId="{E10A16F0-C176-0662-7FC6-EFDB8F1A1F8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97" creationId="{5E5962E8-B7F9-0A96-066C-E0EEB469E88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98" creationId="{C2CA4C67-B620-AF21-9808-CF8DB8F9CD6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399" creationId="{3608F2B9-E73C-6584-1FE0-8709A178C8F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00" creationId="{087A49DC-F751-EA20-A0E0-08F9A369229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01" creationId="{52404912-2D2F-633E-D7D7-D5C8B3BD719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02" creationId="{A3F6FF74-06AC-4B79-9D17-91CEB6B6B31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03" creationId="{B645C6D1-CE84-388F-6544-3D6A7E96944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04" creationId="{0CB92203-517F-1622-FF20-4AC309D7EFB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05" creationId="{A09194AD-FE63-B2F4-6877-759751CBA2A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06" creationId="{CB6E1B45-8890-FBF8-B35F-6F37AAFB79D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07" creationId="{A7C04AE9-13E9-0E30-BB96-8C79C3A66BF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08" creationId="{31BB1029-908F-589D-011B-47A8A0A5101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09" creationId="{70D0BA55-5A41-B9FB-67DD-A2D6E67F2CC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10" creationId="{937A2F02-DA9E-333A-FFC3-DF30FA0732E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11" creationId="{757B7345-91D9-8420-5318-F1951285C02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12" creationId="{B291F611-7FB6-E7CA-FE80-F1AF9741B75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13" creationId="{6159EED8-A939-4DF2-60FD-88FD6700E45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14" creationId="{7C31032C-D284-6C41-BD2F-4B52AF9E6D5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15" creationId="{8ECB2D2B-D336-F7C3-EAE6-E0718D878E1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16" creationId="{E6BBD5AE-E9CA-4485-4A0E-0161AFF2D70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17" creationId="{1AD1CA2A-CB66-555E-F8BA-1CD98E64385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18" creationId="{5D170F39-DD72-AAD5-DF26-0C7846A5BB0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19" creationId="{E54D89EE-71D4-4927-39D2-A30B9A9CF39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20" creationId="{59B117A4-61A2-EFD7-7DF9-BD51EA8644B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21" creationId="{84D47D46-1E0F-4BB7-CE12-4E1590C9BA2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22" creationId="{3A2D1DFD-F341-00DE-D08B-A6E1DD2EA14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23" creationId="{1458476C-1EB7-1BFE-FF84-612AB8F92BF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24" creationId="{6EC41D3E-1764-5927-1F3A-3B0801E6C16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25" creationId="{21BD9A16-7E22-7678-FFBA-74CE1BEB946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26" creationId="{3DF36D54-FF62-0C42-F6A2-E701EF29B01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27" creationId="{F1F9BBA2-D12B-3866-A37F-8C0617B8EF8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28" creationId="{59D35485-6EDE-317B-ADF7-A0B1445C6DD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29" creationId="{6E3FB742-7656-F41C-CE7C-EAAC284D520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30" creationId="{9D98B3F5-E92E-85F6-452B-912246A1FFC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31" creationId="{3E3D5AA3-11DF-E380-5812-D099319659E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32" creationId="{767BB69A-AC70-E017-5CF2-1FEBE53051E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33" creationId="{514F8EBA-F018-6C8B-62A0-FA9EC7377CD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34" creationId="{2A750DCF-B257-3E21-80C9-78984B2D5C3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35" creationId="{9B0CAA00-388A-EF49-7A00-A7C31328F0F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36" creationId="{D3397B6A-E540-3214-A6AA-DBDA51A09C2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37" creationId="{0CA8ABAD-CC76-EE15-79C2-D087BF0F88E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38" creationId="{34364371-C320-A649-B3A9-1BA4609329E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39" creationId="{CA12B557-7645-EA95-A87E-9054FA87CD2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40" creationId="{E04AA449-4E5F-CAEE-E7A4-9DA5D26A216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41" creationId="{0F80D94A-95FA-34A0-260D-0839E1FE096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42" creationId="{FC948D99-8069-1AA7-F40C-F7BEB106BD0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43" creationId="{98257A5D-8C7A-D487-9A1B-907A11E93C4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44" creationId="{EF04CD1C-EC8A-0420-94AA-898368E2192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45" creationId="{06EEFE9B-20BB-C7C8-A9F3-D23CBA9C82B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46" creationId="{F7E35150-FE14-FE10-ACFF-2C56C65FFBB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47" creationId="{256AC1F3-9363-CCEC-93D5-D03CE8C5113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48" creationId="{9E904B2F-216B-72D7-140A-7C03C502255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49" creationId="{FD9FD307-457D-6B03-B445-0F9D219BFB5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50" creationId="{7E1E147C-C03E-588D-CAA2-84804BCC097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51" creationId="{6DFFD936-DAB6-EC77-B71C-7D9161AD903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52" creationId="{B379EE26-E9FB-EF07-CB80-C0367DE83D9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53" creationId="{FE944E91-1336-A69C-8E2C-A838CE61F0F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54" creationId="{1A514A20-6571-E2A8-775C-02B75251CF5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55" creationId="{FEF99111-55D4-B787-FF8D-E3EDA369A90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56" creationId="{C651A63C-C3EC-DF8F-D496-EB05E1AF7D4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57" creationId="{DC40C1B6-CF46-CFBA-4DB8-185DFB01A76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58" creationId="{F614AA32-EEAA-FF12-CC34-333BE7CC2A2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59" creationId="{BE49E4F7-3036-37AD-CA47-7EB63968099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60" creationId="{4D9A9385-4221-0B21-C353-06E0CD101FF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61" creationId="{15ABA780-9CA3-EC92-3784-7D53F6368C9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62" creationId="{94754EB6-3BD4-5438-5B46-AF372FFBF13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63" creationId="{452E2216-822C-9CAE-47EC-D181F9ABC28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64" creationId="{A9EA8C7C-49AE-F3D9-7C05-AC84613E282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65" creationId="{DACD00C4-C2E4-5FA4-7C4F-D868F1E52ED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66" creationId="{CAE8663B-FCE7-4F86-FCA5-E6D3BF9251F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67" creationId="{E17BEB5F-2D5D-FBE2-774D-1D7961BCEFD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68" creationId="{A863591D-E69F-A333-AE50-359A01FA71B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69" creationId="{5CAC39B9-3542-6ED4-06EB-E6E8600F8B9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70" creationId="{87797577-F851-CB0A-DD9C-3D90CE96B0A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71" creationId="{79625BEE-A8C3-9815-06BD-6EA589CC306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72" creationId="{D843F257-E0B5-E06F-C8B0-6881B1AA6BC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73" creationId="{A6CCDAA0-E530-96C3-B4CB-CF4B1CC4FC0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74" creationId="{28BB117E-6B3D-E064-FB57-D4BAB88873E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75" creationId="{02371FAA-A3EC-21EB-0E35-830D6DEA3A5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76" creationId="{340F1CD4-97A9-14CB-8190-63781704C1E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77" creationId="{31013C84-2645-4771-1756-CCE3337D458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78" creationId="{321094AA-5262-3086-B40A-5284E33DFEC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79" creationId="{7C57B3B7-4DD9-FFD3-9CEC-0510B2C9008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80" creationId="{AC7623CE-98E0-FDF6-0930-D51FBC6E56F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81" creationId="{29F4D795-5DB4-E06A-6FAB-3707C2B27E9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82" creationId="{7921EF45-9EC0-4193-23D4-81325FC076C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83" creationId="{D17AA08C-C32C-FFA3-68A9-383E105C735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84" creationId="{5056DD89-FD24-04DE-3B8B-4956D4F1AD2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85" creationId="{E6001217-BB7E-9019-A3C6-42CBC7B935A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86" creationId="{DD3BFF2E-C2FB-102B-912B-D851A8A4DEF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87" creationId="{E9EE69FC-0B05-4E01-B743-64C6288C17C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88" creationId="{3B53AF27-120D-42D8-A496-77AABAB9052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89" creationId="{FABDCF52-394A-71EA-76B9-1AD30514E79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90" creationId="{3124A65E-EB9A-25B2-C183-0E62E1BA591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91" creationId="{CF0A2B39-6B18-00EF-67B5-5C562FCC37E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92" creationId="{F3C426EE-33A8-3631-6764-8B12779BB3B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93" creationId="{BA0DA589-7A41-F8A3-5820-C409EEAE0F8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94" creationId="{B7412507-59B9-03BF-6A7E-742FFC77BD2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95" creationId="{E787272D-BAA2-8F7D-5B9C-C0784352BBC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96" creationId="{2936E695-AE82-9627-90FC-228FD07B4B1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97" creationId="{EB304772-A8E0-53C9-EEC3-C40F3B2BFF7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98" creationId="{64113F12-2B1B-FB7C-86BC-5E6DEE9DC5D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499" creationId="{E98E3FD4-25D1-3588-31DC-27F6CA26C22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00" creationId="{50CF8610-85BE-9C72-F05E-2972D6FA967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01" creationId="{7F69E276-79B4-E2B7-D911-6236710A86F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02" creationId="{4138A73F-25CE-925C-FE08-77E452B166B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03" creationId="{4750D2AF-91CB-FB67-46EB-941F0692C14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04" creationId="{56122404-2CF1-B424-2618-88C91BF8AE7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05" creationId="{F33FD075-1816-B896-3819-60C881D913C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06" creationId="{DC9E6FE2-21E8-524E-4E7F-76BFAF42858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07" creationId="{CAD96503-D497-F0B8-0744-3339DB2F2D1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08" creationId="{7E098F07-C05C-9A6F-8800-87C753EAD9A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09" creationId="{3B880276-D466-48E4-C175-6EECBE1A685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10" creationId="{774B0CCC-7D82-CCAD-83B2-DD18A141DAD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11" creationId="{7D196704-9608-C722-84E0-5209F164BF9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12" creationId="{AF10D6D2-01DC-9E62-6E94-6294C5212DE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13" creationId="{284B0125-C2CE-D985-FE75-C6E237C60FA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14" creationId="{F3BE8C21-530E-3B2B-BFD0-7AE0A13A538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15" creationId="{763DB00D-19DA-1241-7996-0244161F91D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16" creationId="{59B1590A-E5F4-5E56-8421-3AADA3D0CA5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17" creationId="{F762F895-7416-373C-788B-48096983C7C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18" creationId="{7ACEB8E5-13C9-D75B-DE4A-9C814F748FD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19" creationId="{F5C32872-72A0-1E42-588B-438F9C63B91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20" creationId="{04D439ED-5E5D-F135-8D2A-56A9D9CAC90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21" creationId="{2BF93C34-3528-4F17-0E8C-7D273BDDF0E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22" creationId="{97E48D8C-B53A-8CD0-0325-9C0E0431C9F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23" creationId="{040EC4A4-8C91-ABA8-6606-908B12BCAD5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24" creationId="{7046B9B7-08B7-C433-015C-376E1674881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25" creationId="{C622960E-8A13-4C44-3262-E4858783613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26" creationId="{9695DECC-C50C-62EB-50B1-D44A6CE9227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27" creationId="{176987AA-B07F-0198-8F70-A5D060204DB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28" creationId="{62840F6F-4377-E316-F610-6E4216740E5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29" creationId="{37A93097-8658-8A42-0F20-1D34ABF428D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30" creationId="{24C8587B-FFF9-A746-BFA6-11DFBB3D0AF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31" creationId="{B3B6EDC4-5866-EFAC-8385-39247517173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32" creationId="{A0D483C8-4533-6C81-ADEB-E745AF7EA02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33" creationId="{59703232-8AA2-FE93-0065-11D174B227D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34" creationId="{431E6D48-A8EE-ABC5-DC4C-174A29796E0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35" creationId="{DAFEA088-AE9C-E638-0D58-C874F4D81DB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36" creationId="{9863123F-B96D-C009-A040-0DB1735B01A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37" creationId="{8945B14D-C806-B583-E864-859EA71D24A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38" creationId="{B77D6693-E126-0401-72A9-5C63413C9E4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39" creationId="{EDE11FE0-0249-28C0-0A6A-B1EB9E158CE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40" creationId="{F7346A9A-5E4F-52AC-8604-F8C976A1471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41" creationId="{BB99D638-B1DE-3B9B-6210-E8A951E01B2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42" creationId="{BF8A26E0-9F9F-514E-B3E1-BF59C0017E3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43" creationId="{87C14D05-B166-F2B7-1AA6-967108BAE33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44" creationId="{9794F292-F609-8143-B4DB-85F113F0D67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45" creationId="{7B09788B-4C23-46DF-66B0-F071C399207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46" creationId="{2F7D016C-CDBE-DD98-B3BB-B9833894B88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47" creationId="{7FA117AF-AA2E-B33B-6109-0EC8A3D668F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48" creationId="{FBEDF991-605C-C82B-0468-6CD60E71C3B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49" creationId="{1B3B0EEB-72C6-D2F5-CCBC-435D28489FA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50" creationId="{A4220399-A592-31A9-490F-CCBEB5A0419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51" creationId="{B8E03609-9F13-6364-57F4-A3B52DCF19A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52" creationId="{56ACEA54-A656-9634-B256-C84AF03B772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53" creationId="{63058C50-1616-6104-A06A-4219AE6F365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54" creationId="{9CBE0E9B-5641-F58A-220F-B53F9E1D669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55" creationId="{C79DE3BB-A8EF-BD56-697C-003B54D2C40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56" creationId="{49E880C7-FF77-373D-2768-4B4B5CDE5FE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57" creationId="{39DCA682-7EE6-2AE9-44C3-9DD66754A3C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58" creationId="{A7A0B49A-D773-57F3-D290-1354CBE6404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59" creationId="{430D461A-704B-27F2-9497-C63856F5061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60" creationId="{B9BFE994-803F-8BB1-2AFC-B3033567A7D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61" creationId="{924B420E-9453-3D54-F6A7-024D9B7DB44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62" creationId="{229F3382-CD3C-A18C-1CFA-D3379B49ACF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63" creationId="{374BE44D-D8B2-19BE-5F1E-8762512BBAC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64" creationId="{AEB3C2F4-68D7-02CF-F491-3C50D235B88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65" creationId="{1BAC9FC2-2B65-85F1-3ACE-AF30CE82F23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66" creationId="{BF3456B5-AA47-4D24-57A1-85D9789E205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67" creationId="{8042F1B0-DC01-575B-DF23-AB890940A0F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68" creationId="{A62A5144-213E-C7A6-4909-F74212259A2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69" creationId="{470B103F-E191-6904-23AC-041036BAF70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70" creationId="{65D4A008-E589-AEB2-DCB1-4D24FB76663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71" creationId="{C03735CC-98B8-1531-C913-AF06D7906CC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72" creationId="{FE2F6861-4DDE-0425-BE83-6D8CAE7D266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73" creationId="{43C03697-ACD2-18E6-B105-8F907D70CB7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74" creationId="{CE522A38-13DC-3CAB-7A93-7DF284B49B6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75" creationId="{E624B3FA-4AC0-D41E-5ED3-E655773D107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76" creationId="{34814EC8-58EE-FBDC-F4B2-2F15F9B98FB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77" creationId="{B1272A7E-7BC8-D5F9-A44F-4BD94506A22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78" creationId="{2E576D25-5C98-00E5-C95F-ACC01AC0876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79" creationId="{68D35E61-CC57-7EF5-9678-6DF840D0AE8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80" creationId="{7E7FA7ED-80FE-2ECC-C349-EF173F3B7D5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81" creationId="{4D855787-74B8-A57E-5DF3-E812F9F8510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82" creationId="{2B1BC985-3A1F-4928-A755-6C34611E229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83" creationId="{679DA7CC-0ABA-C90E-8796-C226B2C951B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84" creationId="{DECFF8A6-3CC1-631E-1976-739FE96267B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85" creationId="{2BAE0E6B-FC35-335A-4579-5425333D1A9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86" creationId="{A1109801-9666-E8E7-B7E8-BD81C873330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87" creationId="{B49EF8F5-02A4-AE99-24A7-CBFD49B02F2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88" creationId="{AC9C7435-643E-5EFD-10B7-E3082E8297E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89" creationId="{81C5E37B-90C9-EBA0-F16B-EF842B83109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90" creationId="{F551FF1F-F958-D714-812C-3986C817A97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91" creationId="{D85F86D4-0287-667B-5BD8-387CD107DD6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92" creationId="{72BD7357-FFC4-F371-9DC9-547AA3F3BB2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93" creationId="{CC25B31C-0675-16D6-BF7E-6AB286DE32A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94" creationId="{0E541D44-708F-BA2B-3152-882D9B75C7A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95" creationId="{E9651CE7-8672-3E74-372C-17B9B142D0E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96" creationId="{7E9A6C8D-20E1-B086-73FC-1427AE73085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97" creationId="{5AFFE85B-4C64-749D-4D1D-B0ABF794803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98" creationId="{04008874-C6BD-FA31-4D7B-6D8DA1C5D66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599" creationId="{BE80BD01-56FC-8CC4-3A30-9C7E47B4057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00" creationId="{5152F891-4A83-5396-64F1-48A05A52E48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01" creationId="{6978CD0C-AFA2-D57E-5F74-6B5DB957E39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02" creationId="{46E56051-567B-57AA-0854-6067EDEADF4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03" creationId="{73041BAD-9BEC-9D95-BF8B-F9FC043CE4B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04" creationId="{6E921D8A-60CE-EB48-AFCE-E8AFC1973F9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05" creationId="{E885ACF9-DC08-7B4F-52F8-E60C660DE97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06" creationId="{7CECDE77-8EE2-FE84-AC82-A1AF83B1410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07" creationId="{A544875B-FD97-E742-A30D-B2B331AC3E0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08" creationId="{B9E001EE-CF0C-8477-2CDD-0DD4773A095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09" creationId="{CCD0C668-F970-DF82-DA57-A73A3C3BEE7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10" creationId="{0FDD8097-A89F-2927-5B0C-D71CF8684C8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11" creationId="{AC63B94C-802A-E7FD-C2C9-AA75A65D724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12" creationId="{F1783A60-44A9-7513-EC72-5A7739B58F7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13" creationId="{FEAAE15F-FF47-FF99-79C3-A41A1F11F69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14" creationId="{E5DCE62E-C88B-FE88-B432-682293F0590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15" creationId="{CBC3E339-BD57-5E72-4D4B-708742676B7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16" creationId="{D7AE62EF-AFD4-C294-0675-4E2F3997411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17" creationId="{E43D6684-137A-41FA-3061-47778A78990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18" creationId="{2F0B2AB6-5548-DC5D-715B-47F3891BCC5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19" creationId="{08726BD3-1A17-4800-D97C-63056E87A3A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20" creationId="{4C96F119-0484-B94C-5BF8-7F1563E4E12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21" creationId="{E069BBC5-2444-F09E-5710-730E6C5D498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22" creationId="{8B7EFDD3-3B30-1E70-845C-B5403E5A4E3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23" creationId="{0B3E0A09-0BC6-703A-9990-FA8B1CBE5AF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24" creationId="{F1F444E3-24FD-4ECC-E35B-2AEA8AD2E81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25" creationId="{07B867CC-FD2A-5B4E-09B1-02656BC6E61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26" creationId="{E1CED640-F886-A6A5-E5E6-970ED9BE17A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27" creationId="{8161AFB6-3101-BFBF-D71F-573634BB440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28" creationId="{720D8CD7-084B-49E3-0759-02385A440BD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29" creationId="{D0A9D33F-16C4-972A-B41B-C93D850C0F1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30" creationId="{C8C317B0-3CE5-E4B4-3BAE-F7FABEC409B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31" creationId="{3981A268-267B-7E38-22BE-43729904BE0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32" creationId="{EF0F4091-EAD0-E708-C218-EDF2DBA6DF3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33" creationId="{FFC10FA5-F673-125A-BEAD-F3708BC30E1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34" creationId="{7086B145-C318-0418-A7D5-157FE1659CA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35" creationId="{1732670F-9CE2-133E-01E5-BA86045BEDF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36" creationId="{E9243919-D456-1E86-9218-A9C27FB3C3F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37" creationId="{A4754CA8-081F-788F-8BFE-416DC781792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38" creationId="{B53DCD28-0BDD-E35F-0BE9-37831FF9D3C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39" creationId="{658788A8-549F-346D-2C6C-BCC0AEB0357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40" creationId="{D3E7D7F7-8FE3-96EF-E344-C241BD1F849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41" creationId="{C49ECE55-2419-EE85-3AC8-8A0592DF803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42" creationId="{9CCC6CC7-F943-C91D-F738-DBB18EF3ECB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43" creationId="{3C4F90D7-72B5-F4CF-3ADC-B20406BE16E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44" creationId="{C16DADCD-2441-5DCC-4DD1-421B2D4182D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45" creationId="{F6615554-75B9-CDCC-F718-AEDFC79A092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46" creationId="{400E5485-9E7D-E3C1-76C7-16DD663C312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47" creationId="{D4B88BC0-E0FC-DD8F-DC7F-09F4790CA70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48" creationId="{7FB1A486-A1CA-A9C1-55C5-B62B1886853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49" creationId="{16D71146-18C7-9F8E-1DD0-EE051521B6F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50" creationId="{2EBCB443-CCAE-CC52-9C50-7AA44153B90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51" creationId="{60D81BF5-7867-B40B-1826-D15623A902F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52" creationId="{3A864ED4-004E-D418-F54C-47530D1149F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53" creationId="{E251CF3B-F61D-9C54-7915-8AD9E2353E6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54" creationId="{2BD6A726-CDE2-6D12-CC92-7DA4B0D57FF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55" creationId="{BA324766-BE9B-14F8-EF82-D21E8800CE3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56" creationId="{052A123D-7B88-869C-EE80-EF053D94FAE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57" creationId="{426BC160-977C-8E3F-B8C6-5E2F599DFAE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58" creationId="{999F2D05-8EC4-7BAC-A18F-3FA2F0D9FB2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59" creationId="{1E7E0E73-7308-49C6-E999-5E054EFE7DF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60" creationId="{2177A092-4C63-3637-7515-AA1EC2A6860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61" creationId="{7E403781-5D61-6D7D-D4D2-48513D63D55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62" creationId="{8F8BCFD3-77A1-C91E-363A-B7A060BF5B9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63" creationId="{A147F3BF-F0AD-EEE7-A42A-BC6282FC241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64" creationId="{CCABED28-203F-CA9E-A069-71CF9E91E46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65" creationId="{3186A066-9338-590F-E289-BE2C402924E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66" creationId="{6C3E3EFB-BD91-EE3C-8E9C-30BF840E201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67" creationId="{DA6D2495-DBC1-31CA-8030-A73D9222D9E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68" creationId="{D411CB21-A4B2-131E-084D-F8E19935269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69" creationId="{BA582A4D-5BB4-BE11-F1DE-319B012EF5C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70" creationId="{4C3627A3-1726-3EF4-73F7-A8AA9BB7225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71" creationId="{F4439EE8-F400-CFEB-54E9-162CDBFA5B9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72" creationId="{E104415B-EBC5-9A80-D40B-3C19231DC13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73" creationId="{ACF24557-66ED-7A7A-5548-6999BF2BC0A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74" creationId="{2E75F860-8174-242E-CF76-09DD06A6004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75" creationId="{F5EED4F6-144D-46BF-3001-87DF0EE8309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76" creationId="{19BE19AC-E383-6611-E987-A01F4FBE7F4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77" creationId="{805D6ADD-1062-361A-C744-D64FB6B8CD0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78" creationId="{17896CE9-B9B8-1E01-3601-DFC04E3094E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79" creationId="{3366C2F2-F08C-8D88-F8C1-A721809B3B4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80" creationId="{17E0D285-ECAF-D4E0-FA2F-D53265CDDB4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81" creationId="{535D014C-27CF-9745-3D88-099E9576241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82" creationId="{993E1BB9-B0E6-EC93-7DD6-F8E924E0227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83" creationId="{8EBD23F9-6D55-23CF-44D4-967050BAA12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84" creationId="{55FC70AC-2E84-EB79-1B1A-4BE7E5A2F75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85" creationId="{C035F1C6-19D0-B4B0-5411-E27883FEDC2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86" creationId="{E73760C0-189D-22F8-51A7-01AF7262EFF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87" creationId="{3264D278-391A-CB82-0131-45A1E23DC3A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88" creationId="{4A4F80C5-E460-5FDD-42E2-0D713980611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89" creationId="{EEA7E74D-692B-3EBE-D916-6C245C54A68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90" creationId="{2B3898A9-0F25-D612-985F-FC164E4FCA0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91" creationId="{71C7EB73-2237-B63F-0A51-128465F3578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92" creationId="{74056733-EF21-7C95-504C-02C930E5B5D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93" creationId="{5C1C859D-CEB0-6050-C64F-5C9D69F5AD4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94" creationId="{C4E5516C-9778-6A4D-B2A7-A82A4B84A65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95" creationId="{53DC3820-F517-DF78-4BEB-8EBB2DD61F8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96" creationId="{7B6E1463-EF43-9D81-DF51-CFC0B0AED8A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97" creationId="{1E9F90EA-ECCA-C91C-524B-640C0405A26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98" creationId="{3A20FF2C-ABDE-9EB7-8A89-D2B2EDA460A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699" creationId="{309AEA1C-3F42-9710-E466-44965519E72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00" creationId="{46519A6B-2FB7-8A86-2C30-D927DEC3E21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01" creationId="{E4DBF985-61E6-F5FE-D803-0774DC7930B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02" creationId="{D94AAA15-79C1-E0FB-8DE2-BB656DB54FC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03" creationId="{F213E543-DDD7-D737-4F31-9C4C7C2E711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04" creationId="{B1A6C373-84A5-0256-D803-8F63EFF3FEE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05" creationId="{DFF62FE9-1973-CB14-696F-E5D86DCC40A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06" creationId="{4185EAEC-792E-3D9B-5F6E-3469C2CA356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07" creationId="{A20F1B83-3AF0-E2ED-6425-4C481448691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08" creationId="{DF799993-C1CE-0CA8-9602-6AE324CFE03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09" creationId="{FF1F0449-5E0B-A02A-E578-90E6C677548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10" creationId="{FAACD0AD-2390-BF13-1BA4-4C52E2A10B4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11" creationId="{6BA94E15-17E0-0C29-5038-C120A1AD881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12" creationId="{28A69FCF-AE8E-4C64-0E31-45AFD49C55D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13" creationId="{D8BE34CC-26BE-E5F3-9AB6-5B42608A328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14" creationId="{8796E442-A959-36A1-CC0D-17A6CACC6CF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15" creationId="{9D7D55D6-59A2-CE91-55B6-051AEAAE811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16" creationId="{5B247105-DB83-FCE5-88B8-33A572C485B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17" creationId="{C2DB4CFA-633D-89A4-7B2A-CF71DEA42AC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18" creationId="{51BD576E-A287-E9C7-B48B-B2A1109F00A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19" creationId="{E9A48551-B2BF-64EC-A96A-D5489C36C61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20" creationId="{B28FB5F0-4040-9F02-DD9E-E9F8BB05183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21" creationId="{9D7D5FCE-5CAE-2A0A-2AA6-092C9AA7178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22" creationId="{F7FEA19B-91E7-4E29-670B-938CF8455E6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23" creationId="{678BD97B-5B89-2C0E-EBD7-3DF0D6CD321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24" creationId="{1297C95F-22E7-A019-D58B-A0654C27316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25" creationId="{829FD9E1-9521-559D-B394-BA90FD2852D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26" creationId="{38C412F8-2984-452A-7CA4-E531F485A88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27" creationId="{7661DAD5-A0C0-EF00-F2CC-1200C449B6A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28" creationId="{18546EFF-CEB1-10D4-EF3C-434FA28064A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29" creationId="{E75C733C-44E8-BA75-6618-E6B91E7F41D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30" creationId="{FC91FFAD-D495-70A8-6C90-B2685222BE2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31" creationId="{702DEE6C-4644-3383-7E37-1E9A15FAF1B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32" creationId="{D6B24F5D-E267-EDA7-F773-AEDDCD7C47A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33" creationId="{E593C3C2-B685-C195-C978-4F416260F3F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34" creationId="{FE9623DE-A22C-F9DE-A43D-643EDEB9A2E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35" creationId="{5F6273A5-0538-E1D9-A138-E86FDDBD52E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36" creationId="{7B98FDDA-1320-4599-1381-50126A8233D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37" creationId="{5D587846-2C08-3E0F-7A5B-9B309D561A5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38" creationId="{1E925160-4C42-FAC3-4720-90C9DA23A67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39" creationId="{355CD5A3-CFA0-FD78-5475-5486D573A29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40" creationId="{50D32105-D7BE-B30C-55E4-DD17BBE2D17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41" creationId="{DBCDAF60-BE2C-AA34-F6D7-FEF649EE45C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42" creationId="{2436DF3C-2891-04A1-B673-A11DDE3E6F2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43" creationId="{89511AE1-EBC5-C14A-0ED0-09E9572F3CD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44" creationId="{637C45C9-68E7-FF38-4E7D-095A43DBA26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45" creationId="{0293F111-FFCB-1C5A-5D3A-0556B5150C7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46" creationId="{A5D2CFBF-5D25-81E5-00ED-247E0DFD68D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47" creationId="{86439941-D819-F7A3-A534-30724874C07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48" creationId="{70D140A8-1A8E-FB61-3F85-D8E1709C90F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49" creationId="{B43EFE3B-B602-F846-946E-2DF881F5732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50" creationId="{FC0B3951-A0E1-F09E-A159-F9AF4C5DCC9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51" creationId="{A3049CFE-CA32-B5FA-5959-C2D028A86EB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52" creationId="{ABFB5021-CA93-B2AA-2DEC-D6802BB04EC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53" creationId="{F1B5D216-0E0F-5467-0A1E-3699601860E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54" creationId="{BBBB5522-FEA8-B72B-4820-6AAA62A5873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55" creationId="{37BC5CBF-EC4F-12F4-06E1-BFEC725BBBD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56" creationId="{DAF4F805-BE72-0007-7651-A7C70B0BB1D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57" creationId="{587766B9-AFCC-31C2-7B3C-1A38947A68F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58" creationId="{F1D8F76C-D075-8FC3-340A-87D5A5F9735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59" creationId="{0F0AF47E-834B-5E43-86AC-1CDCA7ABEEB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60" creationId="{3039C0E4-C296-217F-4EB0-2109BC459B2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61" creationId="{C2C93B0A-FB31-BE54-E2BF-E50194C05D0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62" creationId="{82BAFD6D-7400-AB7E-F49F-6585C988E7F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63" creationId="{0B0B60DE-B0FA-A954-23C0-3A856969881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64" creationId="{6E5C17D8-E145-2B46-FB68-FF8A17D841F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65" creationId="{6F8407A9-B77F-EED5-673E-95B2AA04D15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66" creationId="{FD393F7C-1681-07B0-7FF4-184E695675A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67" creationId="{A7513BDF-FD73-B723-8772-DF22BFB6D8F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68" creationId="{C975E5BC-D8A3-3AF6-0888-8771EE06BCA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69" creationId="{F6BE433B-1F88-93DB-1173-25D36BFF484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70" creationId="{EA9B7229-43C4-15C6-8568-052E481FBE8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71" creationId="{114A86C5-ACC1-97FC-AE80-198FC051A2A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72" creationId="{F8347E71-DD45-C17A-E6FA-45918BF17AB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73" creationId="{CB0EF964-596F-14E7-D3A1-1FC94B842D0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74" creationId="{DB2E3B31-8AA7-3615-C966-31EC9EB7ABD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75" creationId="{798CD4F5-6038-125A-CD9E-79A28F4E422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76" creationId="{94F07B69-0DED-23BB-CC58-5E69BD8E481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77" creationId="{05DD4DF7-6A73-6155-BFF3-66B01E3C448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78" creationId="{3748F51F-EA99-210C-2F8C-DF426A9856B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79" creationId="{3B28A01A-7D4D-5381-C630-B2F4C740073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80" creationId="{9D221CB4-2633-B92B-9E22-B9193881AC3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81" creationId="{01B506AF-1D5F-4202-004D-EF9FC14002E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82" creationId="{3CFF0051-3D08-B2C9-42A6-594C9EC69D4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83" creationId="{A0D9A36A-05E2-A266-75B3-42A2C51E570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84" creationId="{D8F70B90-95B1-1899-8AEF-3047DF33953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85" creationId="{1283F130-132F-DD75-0712-414EDF20F7B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86" creationId="{34948CBC-8125-79D1-79A8-A3DA4E1CBBD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87" creationId="{FD7F6554-51E3-93DF-7267-C5B7B0F933E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88" creationId="{79F6F58B-DCC7-9658-F336-AB5A25D16AE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89" creationId="{7CAACFB8-E502-6DD2-3D33-D6A4A06C5CE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90" creationId="{889B0AEE-37C3-D864-FA58-CE932E1135E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91" creationId="{4BC19405-22BD-6AEE-BFCE-B785E0A55D3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92" creationId="{D2488F77-F185-AAAB-42E0-E8E59ACA334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93" creationId="{DEBD3040-B61A-2CCB-7420-674FFC7FF28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94" creationId="{3D6A1FCD-B984-8FCD-2768-AA0C1C020A2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95" creationId="{E38A3233-6145-6E46-14DC-1AFD2AFB0D8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96" creationId="{B0C57E40-0825-1AB8-45AB-B4A4450AA5A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97" creationId="{C43DF68B-E789-A990-5166-92EF73B9904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98" creationId="{822722FF-5FEC-9279-CB3C-2229127DB46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799" creationId="{049931F5-8772-87A1-11C2-D843B7B22B3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00" creationId="{CB9FEBFF-FE9D-1E45-C605-C411F191291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01" creationId="{CB6B7BC7-1D5C-0138-6144-8B2726BE836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02" creationId="{1F365C61-C74D-DC96-AD91-DE9ED9058BF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03" creationId="{F78FA209-C1DB-F826-E224-C1BA7A9D901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04" creationId="{E04063AE-5F37-10B4-AA4B-D306E6CB39A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05" creationId="{21D0AB7D-4C42-62AB-777B-E33B420D548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06" creationId="{F99C2A2F-450D-D0A5-72EE-CC41F69E76E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07" creationId="{AC02FDE2-7D5D-9AE5-2F8A-28A73A775B0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08" creationId="{1909EEEB-13FB-DA98-771A-BDEEA7D9128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09" creationId="{026CF853-FBB1-16E6-CA1D-ACC03442FD0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10" creationId="{1D328E85-02FA-A1A1-6DAF-E8E1944A0C4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11" creationId="{D60C59E4-2CAA-53D5-4FC3-DB8D23052FC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12" creationId="{7CA790C9-9B4B-32A8-89B9-B7F2496C343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13" creationId="{B87EAA44-0886-BC7B-1092-951BFCCBB27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14" creationId="{F8767821-263C-9B5F-C59F-ACF93888EF3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15" creationId="{7D0FA786-E04B-82BA-C0D5-AD04B0B653D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16" creationId="{7E95B16C-3C77-55E4-7E1C-07C1EC5E041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17" creationId="{2B741EE1-6D32-1A2D-1CC2-32F8D104033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18" creationId="{6969C0FD-8A22-3050-4EF2-31264461711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19" creationId="{634A9D70-1972-13C7-8922-5EE6272A28F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20" creationId="{FC31D2EA-C85C-6742-26E4-02CBE629BFF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21" creationId="{023A6139-4F8F-62C0-B056-C052FBDB480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22" creationId="{F40CAB8D-1C80-6DDB-F2EA-760AF0795B8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23" creationId="{BA91D030-55ED-8F53-6250-BB29F3F58AA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24" creationId="{B6809DA5-F930-411D-0601-8A9274A8417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25" creationId="{A8715C6A-3D36-8CC3-A6C6-FCF6619F72C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26" creationId="{8F312071-F336-5273-5A35-CE89DF5FD55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27" creationId="{4154E804-0976-609E-C84B-B57C6218BC3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28" creationId="{290EA81B-B646-C857-D175-EB3ACDD0CEC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29" creationId="{DD053789-8A7E-51B9-009C-268FCC9873F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30" creationId="{B31BB557-9A5E-4704-6A5E-64724117600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31" creationId="{DF583978-CF86-F6B1-01AA-05BA2BB541B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32" creationId="{1D156ABA-4F8F-90B2-2A7E-C9F53733E93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33" creationId="{EDF0A00D-2DC3-96A7-672B-A626D63C09B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34" creationId="{D8877539-F8C8-41BB-4198-7DB3E8D17CD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35" creationId="{5CB86830-5015-E07C-763C-5CD9786539F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36" creationId="{591D77C0-2BD2-03E1-30FF-D0C5F7A8B77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37" creationId="{E507B1E4-C48B-59BE-219F-E83F76F8C61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38" creationId="{F7E2F147-632E-30A5-F63C-352EF044F63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39" creationId="{081B4054-73AC-8294-EDB5-B9D9B6F9C19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40" creationId="{4AD5CA1E-7A6B-CEE7-2182-18D361CF90A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41" creationId="{BB207813-8243-6935-6476-D57A554E2AB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42" creationId="{04FA8590-59DA-B42B-786B-9A301574480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43" creationId="{657579F4-A8DB-8E9C-5C38-088C82345D4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44" creationId="{2890EAF9-8E3F-0B7A-B797-AF437402BFA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45" creationId="{49CCDAD5-5C87-3E88-0ABC-E503491C25E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46" creationId="{EBBA92FE-41AB-6865-5C7E-3CA55962BA4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47" creationId="{CB421E25-66A1-8EE0-E05E-3FF17A3E200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48" creationId="{F40DF03B-D0DB-D6D5-3039-512562F05EB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49" creationId="{B6D19A7D-F2E8-F62E-A550-9B2DEEF1F55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50" creationId="{9DDE7EC5-5C4A-3819-E9B1-2C3F0DE2ACE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51" creationId="{8D02C609-339D-A329-C251-B4A7EA02FF9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52" creationId="{3F1D1CBE-E965-64C1-8076-CB77090F349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53" creationId="{E6891108-2063-1191-7837-A7B851362B9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54" creationId="{F60109AA-42CF-140B-3BDB-5DB4D4F2931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55" creationId="{18DDE91F-6683-8D83-CEEF-59FBCF612B6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56" creationId="{BCD01CD8-7ED1-94F5-7D8C-3A661724EFB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57" creationId="{4D9E01AD-DB76-EEEF-BF38-1E807175898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58" creationId="{B428A015-8BBC-C831-61BA-E27C3547D1C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59" creationId="{8A4F31C6-EF5F-C837-D427-568332F17D3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60" creationId="{87C9B393-39C4-1FD7-883E-C276D3249EE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61" creationId="{BCBFAB7F-C4C4-4145-C194-B0F1D3712CC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62" creationId="{3B96F1C5-9111-2324-6CF1-B088352AF41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63" creationId="{96A5E947-4078-C741-DF31-1782DA73A66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64" creationId="{B0A4A29D-8620-5E18-CF13-98EFABAAE1D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65" creationId="{222E75EE-C693-0D96-07E6-AB4FFC862E2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66" creationId="{F12DFA92-F2D1-1322-5FB0-D7E1D4F1930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67" creationId="{E5A5E917-F04A-1849-8DA3-2393F507A01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68" creationId="{F2F9C0B9-CDB1-D7FC-5BF3-77B4B20D580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69" creationId="{060B08BB-12FA-379B-1A6A-FB7B9AAFA85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70" creationId="{65EC57B0-CFD6-5263-2242-24EE364DF73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71" creationId="{22E03E8A-B9E3-FFDE-FB99-5C57A21A13F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72" creationId="{B2228104-1B56-798D-EDFC-611422CDF19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73" creationId="{4BBD5171-12A7-5D83-F727-17D002EF093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74" creationId="{F80A5EA8-7BBD-6F70-2A7A-5775752CB2F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75" creationId="{B073F7F1-3BEC-57CD-ECC0-3DFB346E810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76" creationId="{40DDE2D4-CEC4-DEAC-2BEC-E7C633C95B9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77" creationId="{8A50A241-332C-8EB6-8E0A-C67DF5EF466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78" creationId="{379F84A7-7256-19A2-B131-E2B9B84269B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79" creationId="{DF050718-555F-21CB-067A-31B25AD6CB3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80" creationId="{903C1970-F33E-48DE-C7E9-70C63DCC81F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81" creationId="{B0F83B80-DFF1-B1BC-04BD-3E83494F5CA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82" creationId="{D9B43DBC-00FE-A072-D0E1-A11C05C97CF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83" creationId="{DE5DF4C0-BF6C-0A3A-02BB-959286DED8A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84" creationId="{8C061050-D93D-5B3F-7F95-BBA54C41BC9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85" creationId="{167B7C61-4973-5B37-5D5D-169DBD0995C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86" creationId="{A651DE7F-D9D3-E914-8D82-5685DD247CE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87" creationId="{0E4959E9-142A-FFC3-F599-D5B406BC848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88" creationId="{A2BF6171-BD27-175B-F1FB-A5FD4B075F0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89" creationId="{217B4088-01B3-688E-51F7-B9C4F50FCCD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90" creationId="{73DF366D-7AEF-74D5-50ED-1B8DEB21DFA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91" creationId="{3EE36B6D-60CF-22CC-137A-7F33D5991B5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92" creationId="{8D03B7C0-D937-397E-F000-3EF88C86E7A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93" creationId="{FC701A4E-2182-A264-D4B6-A16DEC7EEA3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94" creationId="{C3C866DC-B713-4097-355B-3D37A59CAFF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95" creationId="{68FEAE26-822E-5CE6-55BD-A89842DD0B4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96" creationId="{21B52D82-898C-4AB7-7EA9-462C76236E1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97" creationId="{ECD1C6C8-FB71-7FD4-D8F6-BF98B960F96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98" creationId="{56D52C96-4A8B-18DD-087E-24C7FADD435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899" creationId="{BF3D5240-F330-6972-A389-FCF8C932645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00" creationId="{F6867DBA-F584-5B38-9C71-29BB5C3BCA3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01" creationId="{8E513E64-18F9-42C7-1A0C-99150FDFE42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02" creationId="{F552D02D-FDB8-9341-2360-8FBB035A2C0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03" creationId="{C3054787-6F61-A418-623F-A907BFC41E2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04" creationId="{E2E80CE4-827C-660E-7F07-0DDA03A60CA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05" creationId="{B4F8B7FF-6670-1373-136A-3484CCB1878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06" creationId="{FBBF7E8A-C8F0-CA3C-4A73-5F906676603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07" creationId="{C56E147A-3E9C-3C1C-A7D3-3B22F921F0F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08" creationId="{1A34072F-A32C-3C24-CA54-9B20AF2156D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09" creationId="{854B26DA-787E-C28A-0842-082EB717835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10" creationId="{4E477C02-8CBA-4A0B-08EC-822288964DE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11" creationId="{C4A2CA1D-81AA-BBA8-2D2C-1B0C593FF93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12" creationId="{4EFCC428-5DBF-A000-6D69-20EE451B545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13" creationId="{EF5F51EF-634D-E6A7-B10C-C731C790497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14" creationId="{77E0BB2C-95B3-9770-36F3-7D407E5CDBD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15" creationId="{3567EDA9-8E8F-62AC-64BD-7ADD3128887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16" creationId="{836B9CE8-FF74-3AB6-978B-35FD1A3329D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17" creationId="{875E1309-426D-9236-933A-D1CDD64A377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18" creationId="{C9D54652-B366-A228-B42B-85A1236458B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19" creationId="{9AC1B157-2D33-09F3-4ABF-34BB34EEDD3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20" creationId="{5655A19C-D880-FEEE-CBA4-F22C05D3EA1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21" creationId="{5E983656-FF64-03FA-D5EA-7259315A155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22" creationId="{FECA43EE-B9EA-7D8D-6F09-D79EDF9BD80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23" creationId="{F2A74627-A6A1-8BE7-7D6F-8ECD0786E4E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24" creationId="{1FBD820B-B82D-B297-7FD1-AB8ED981CE3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25" creationId="{4950E1F1-3A3E-F114-D0C7-D79601368C9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26" creationId="{A877ECBF-22A8-91D7-4161-83B8BF6DD5A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27" creationId="{96AF8727-412B-56B2-F85D-51EE9A5F185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28" creationId="{9FC2DAA5-0CE5-67F9-3718-18B641BB00B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29" creationId="{81230430-C5BB-2A62-3CAB-6D3E07ACC31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30" creationId="{D9EB3507-6FD6-8054-7816-283336841AF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31" creationId="{5DC4A03E-F980-42D3-7EFC-364723E8414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32" creationId="{1FA45002-CE01-219A-8097-DAF0AF892FC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33" creationId="{1D55ADE2-1358-F94C-FABD-3B255F970A9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34" creationId="{A88471B5-6D09-64A1-2FBC-011BA6A480F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35" creationId="{8ACC7488-F640-7A3E-3993-947294FFFA9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36" creationId="{6B41D48D-BDD3-6EBE-B37D-C7196DC2571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37" creationId="{C56F9BA2-0526-174E-5560-56919E38A44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38" creationId="{1996130E-A38C-B2CA-E033-A83C38A62B6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39" creationId="{D9708A8F-5161-1C1E-5495-B592559AD18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40" creationId="{AD166612-F8A4-50D8-6C1D-6AA045370BA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41" creationId="{A311F32B-5A6D-D307-EDA8-DBD8F76EC97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42" creationId="{21216CAA-3B1C-5614-E228-DBD01738DED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43" creationId="{A87DE9F3-C021-2E54-F29F-B1B4327CE3E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44" creationId="{7EC6B9B4-F989-E293-30F0-63191EE0D1B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45" creationId="{91EAE103-CF64-A231-2611-9BB57E93077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46" creationId="{BF335906-9A7E-3FB8-04A6-F1609AE3EC3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47" creationId="{CDA2017C-1724-9AF2-9ED0-5E52D41C791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48" creationId="{1717DE73-7B6F-C821-A56B-DA717F61F67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49" creationId="{5B394EF9-79EE-A45D-7D6E-6F7CE64B831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50" creationId="{3DC01389-F5EE-AF12-0A10-0825FB292F5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51" creationId="{8D032DB0-612C-2B23-80EB-2C5E03EB44A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52" creationId="{55F4619B-F863-F546-7378-624E6DC08B9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53" creationId="{ECFDBE90-9429-C065-5944-FFC47D68043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54" creationId="{0475BE6B-716A-5EA7-FC06-9629E18C216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55" creationId="{9B1119AF-AA4F-ABCB-8E76-CCC5DC324D3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56" creationId="{18C91318-3ED1-D50A-8369-4E055C966DF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58" creationId="{F488986F-145F-7B76-FA5A-71AACF1255C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59" creationId="{86F25394-2B66-AE9C-ABE9-505BB60E0A7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60" creationId="{27D0D4F8-67B7-C79C-EF7C-26174F20CD2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62" creationId="{D274E06B-130B-9205-D862-AA0A43AB0A6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63" creationId="{E6786073-5C10-EF28-78C9-A7FCA4CE88A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64" creationId="{A5E4AD0D-CF86-A0C3-4268-040ABF07CE1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65" creationId="{187A1788-8FDD-04B4-3113-B6ACEFA67AC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66" creationId="{FBC9C409-85FD-41A1-322C-53ED813B325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68" creationId="{81A1FE11-913B-907A-0EE4-6F824CD2015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69" creationId="{1285AE39-7CB4-2667-A364-85672AC6E0F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71" creationId="{05659533-0D9A-A6BE-2668-5B367B4A783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72" creationId="{D7CC43F1-8BCF-A121-403D-A5C3DE5C7E5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73" creationId="{B1BB9CF0-D072-DA9B-9286-8240B453971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74" creationId="{A381692A-E519-29DB-6382-79394FDD62C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75" creationId="{9D08377A-3C13-461B-3ECC-199839913CF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76" creationId="{3CA164D3-74AC-AFB2-7647-CD9937F088E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77" creationId="{BB4E8DEB-46F0-CD95-1CB0-E6C7EC281AD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78" creationId="{B6B9CA4E-F169-0E84-D701-DF9D1D52538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79" creationId="{985A3C1F-F452-AB82-4D76-988835DAF58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80" creationId="{3A085278-928D-9303-B708-186C178A820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82" creationId="{E97F1052-D364-5F5D-0595-86C84DBE08E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83" creationId="{1AF5B311-B6DA-047E-3712-14E85788498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84" creationId="{C3835854-E527-7FF0-55D3-0E7D30DB994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86" creationId="{13425F9B-6946-8DBE-3632-1847523EDC8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87" creationId="{41B7B9CD-E94F-ABE5-473B-CDEE505B9C3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88" creationId="{FDD67176-4580-29D6-6D54-26E7662F495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89" creationId="{F4139A29-6121-92AF-5408-8483FB101E2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90" creationId="{6B6B2C31-E8E8-DC4B-612E-057A4983BE1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91" creationId="{85F440C8-C70D-9F87-5C24-6169DB37479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92" creationId="{44109D0D-57E7-F040-D64D-B34F74D041A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93" creationId="{4DB59EF9-0179-95D5-8118-FA32D0C9DC1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94" creationId="{CEA8D2CC-9278-0216-8D76-C869B1E2400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95" creationId="{1581373F-AB2F-7292-1B0B-D2E222A6488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96" creationId="{89864A6C-C0F6-2179-2166-0942D7F7368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97" creationId="{E92DCA8B-A53E-B095-9BD0-CE7ADD3D736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98" creationId="{937C20E1-254F-3B82-1CE3-C57F5FFCA59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1999" creationId="{2A94B117-360F-6FAF-6952-404C7EF8D5D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00" creationId="{AF8B6210-149B-3A24-60D5-E1CAE380433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01" creationId="{05CB5404-42CC-A574-4467-C590981AAA7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02" creationId="{30273249-A440-5042-032E-405B4594902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03" creationId="{9B7ABF37-5CF3-743B-1476-EE89A8DB2C7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04" creationId="{9F7C5F1B-1238-04BC-D7DF-BEFE4052709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05" creationId="{37281CEA-D1CB-4A74-1514-2F05722CE1C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06" creationId="{CD6F916E-639F-247A-50EE-A8C7CBDDB1C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07" creationId="{C8797D67-AB65-8CE4-861E-C86FE9E868C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08" creationId="{A0BE6399-8497-5409-0A86-2007003FD75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09" creationId="{ADF8A5AA-A129-2B53-0AF8-DDDA404146F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10" creationId="{30109736-D8E2-0BA7-73C7-1B0F62490EC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11" creationId="{2946ACF3-0CDF-EFAF-CFCD-6A021A8AB91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12" creationId="{84BF852B-30BE-6B3F-E3B9-4856AC523F5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13" creationId="{49F66EA4-6108-5033-EE62-221D13B4E73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14" creationId="{57FE4A0B-3AA5-7BCB-EE9C-FA2F4BABB6B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15" creationId="{59D87E5A-8B99-FCB9-C2EA-F505C58185A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16" creationId="{C5F8F1B7-D0BE-9BEA-414C-330370D28EF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17" creationId="{EB157F39-466F-4AA1-F439-B4CD9332BA6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18" creationId="{9886FA30-8A75-703D-22D0-9FCE08FB744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19" creationId="{B598A05B-167C-AF43-BCB1-FFC5D571786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20" creationId="{4E2C1F47-2740-1077-BE12-4FEAAB3238C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21" creationId="{157E8379-81B0-AB04-AF28-CA296C4A38A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22" creationId="{AE8C498F-9DB9-4A89-31F5-6DCD3D55257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23" creationId="{FFE56246-D69C-EA6C-43CF-DDDB858F1DA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24" creationId="{2A116613-4F5C-97EC-670F-243909B4743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25" creationId="{01C3BC16-E35C-381E-1702-CA00FF9B1AC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26" creationId="{59BCAD11-16C7-59AE-673A-9AD9941F978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27" creationId="{B8A4EBA9-683E-9213-4871-519FCF03220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28" creationId="{70F9364A-37B3-9D36-90CE-66C78150F27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29" creationId="{309F9870-5BB9-EB57-AE95-1605488CD89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30" creationId="{CE6DABE7-2112-237D-53D7-116D03806DA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31" creationId="{AD565A6B-9AE3-2D44-9B10-2F2B3B1DB59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32" creationId="{66379CB2-B780-B631-3513-ED97A5E892E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33" creationId="{6A2D3D88-5AA0-BC2C-50DC-1F58AE543EA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34" creationId="{558F72C5-99EA-8C74-7E45-51EFDFD017D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35" creationId="{97F5EBFE-E8E8-6765-F39B-F13CA02513B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36" creationId="{963BBCE2-4732-BFB6-FDFD-0217CEF500E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37" creationId="{960E0CB7-F3BD-0207-12BF-6932430CC62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38" creationId="{7C03E37A-772E-D326-46EA-72F7B0DEE12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39" creationId="{655282E1-FD3D-89D5-C57E-C38D93CCFF3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40" creationId="{A0987390-4F59-C51C-EC7F-3317A86E4E9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41" creationId="{9BC5B53A-323D-6ED7-5B22-0B6DFF6C8F3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42" creationId="{9C03CF6A-F79B-B250-2DFF-03CBA61436A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43" creationId="{14C68BED-03FA-097A-41FA-256A46E1B94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44" creationId="{07591BCC-EEC5-242D-C2D6-801F332182C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45" creationId="{C47F17C2-9A5A-0507-9BD4-319B25BC130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46" creationId="{04A67226-3BB1-4572-21D9-9B8432EC251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47" creationId="{723D3618-2FF8-44EF-C5F0-4081BDB7299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48" creationId="{901495BB-1A5B-CB53-66E5-9608C3D8133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49" creationId="{E64B1450-8F49-F2D1-E2F6-9120AB0A13F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50" creationId="{07289D3F-D120-A29B-9BEF-7032E9A4A94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51" creationId="{FE577CB4-CD5A-11EA-EA4E-A728069924C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52" creationId="{977F8981-5AA0-1EB1-CCE2-9603A01BC54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53" creationId="{36601721-A17F-C821-AF4A-7366A328E62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54" creationId="{4F4ED11D-34FD-5E3E-2DEA-30223B9400C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55" creationId="{26A47D4B-E9D8-6FC9-DD55-F274F3CE8C7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56" creationId="{25F1D9A2-B180-D307-3D2C-BF447483858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57" creationId="{6CFF530B-1AF4-77DB-BD6A-77E7FF0C20B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58" creationId="{52852848-4E2B-34F4-118A-52AC18E7DE2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59" creationId="{89D50784-8909-81F0-D1A5-8C958AECD78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60" creationId="{1E271ED2-34A1-685A-C878-3A4FCEF3575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61" creationId="{442FB7EE-F8F0-0823-4E58-64213E85B03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62" creationId="{412AA9FA-FBC2-22E7-6157-6B9788D757A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63" creationId="{B4024B1A-ACEF-A6E9-ABBC-3C1D1576842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64" creationId="{AA19048C-9297-E6D2-8DD8-0E6760041FF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65" creationId="{E328AE58-71AF-AD09-D297-E22CDD9E724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66" creationId="{5725040A-F312-7F40-67B5-78AF7FA505E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67" creationId="{E15CC4EC-433A-8600-BFA2-CDB937C100B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68" creationId="{3F07466C-55E8-8F2E-65A6-BF18338C93C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69" creationId="{D876B716-7D01-8A6A-FED1-C520B705ADB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70" creationId="{B0D3F2FD-D3CF-4274-7809-6BA46E9B953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71" creationId="{333876AE-B4AE-EA73-5541-838D898F1D4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72" creationId="{CF1544FA-5F49-09B5-6F1A-101C267BB05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73" creationId="{596443ED-C414-15AB-7E37-E2DF303D4FA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74" creationId="{5F3F63ED-0491-7CC4-B651-6E3FCC7D91F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75" creationId="{773C9047-7650-2C8D-4959-90AF07B0EF8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76" creationId="{CCD3D75F-93FE-AB05-8EF8-4C8007E8D8C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77" creationId="{3458B99B-37D2-8349-8258-20E04CCA387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78" creationId="{E967D959-2579-B32D-0C70-2D7743F707D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79" creationId="{B15A2119-A883-7DAA-83DD-24DDFF7BB3B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80" creationId="{9B92EC6F-5C96-87E5-DD00-9A5E6D594B4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81" creationId="{BA9C11E9-7D4E-88D7-4DCA-A2C6B420E08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82" creationId="{FA89D041-162D-C9D5-9565-42BA78BC956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83" creationId="{68A8BF24-EC3C-3E41-C818-CA7971EFB98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84" creationId="{89018722-803A-B4D4-7BB6-FF42B2AD108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85" creationId="{F4E6A632-384E-B836-CB2C-206C9A52928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86" creationId="{C03FE0B6-B076-C0BF-758D-0B34927C471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87" creationId="{958189B4-3732-F7E2-2569-711B3C3B4D4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88" creationId="{537840AC-B0B1-B086-FB17-C384E2C35AF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89" creationId="{5412D161-1688-8866-3B4B-FA23EE4E02F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90" creationId="{9774DB9A-2C13-3BCF-ECE8-E62432D322F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91" creationId="{4F06C7D9-1AF1-18F2-2679-5F14F1ED6F7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92" creationId="{3955A0A9-1EEF-3732-3BF3-836F39AAF0A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93" creationId="{A4799F49-A219-B5B0-F159-BB29A7F57DA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94" creationId="{977100C3-BCFC-CEDB-FD5A-1B54FF1D41F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95" creationId="{2E56D32D-C80B-48BD-6BC3-25F3C1B0DEC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96" creationId="{A97932AC-5C1E-67A4-42CF-CFA5D778059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97" creationId="{0B596CD4-3C05-210E-3CF7-B90F5107BA9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98" creationId="{1461F99C-139F-D839-C22B-556565C83AF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099" creationId="{6939F7F9-51F3-D69F-0C52-52A65391465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00" creationId="{1CC74DF2-ADB7-367F-322E-5C0324266F3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01" creationId="{CE3F22A5-5CA0-17B1-65A0-7E4FC680FD3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02" creationId="{A4354486-724A-9062-780A-AA67C7B3C44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03" creationId="{C4C6AD72-8406-65AE-21C2-5C317C57014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04" creationId="{DAB89E95-CA24-CCC8-7983-E4220916975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05" creationId="{C04D4047-4785-FB3C-86D5-D7A2BA3A970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06" creationId="{BF709A9F-6B83-1877-AD1F-CFE253D7D8C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07" creationId="{35E516A6-87F2-1A66-8846-B6624C827B5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08" creationId="{AF786635-21B7-7A67-89CA-09F3705EE99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09" creationId="{76AD7746-6758-A241-0FA6-B4DACD7DFEF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10" creationId="{E097C07A-60CC-2EB8-B758-83B81E6715E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11" creationId="{20912107-4386-2B21-A6CD-BA3BB788529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12" creationId="{E8772D21-5998-71DF-E4F6-2A4682DE544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13" creationId="{C752CCFD-DBAD-3E7C-A4E6-67830C8E2CC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14" creationId="{8E8529A9-D0FA-2EBA-7DA6-1EF1B1913D1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15" creationId="{3D52FB8F-CEE1-E147-3BB5-A20710DF9F2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16" creationId="{5C520930-233C-B7E4-E7B9-010C2996242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17" creationId="{8C970C79-83CE-9D9D-645D-36B398C2821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18" creationId="{FFB3F4BE-8A63-41BE-B796-CD5DA070754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19" creationId="{8F452CDB-1821-F739-8D0B-F65AD524AC9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20" creationId="{C728A926-F313-0A25-57CB-F836D455DBB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21" creationId="{473C162C-41FA-59C0-BC78-2F5F7A6F324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22" creationId="{1073C301-5888-5FA3-7BD4-20B696D92EE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23" creationId="{196997FE-24E7-9C1A-20A4-C94E28382A7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24" creationId="{E3D8FC8C-E0B2-BA47-75EA-461686778A7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25" creationId="{6ACAFC44-4D9F-D2C3-6B19-902481A3872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26" creationId="{169E7998-A450-23E6-398A-E765D9B9C66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27" creationId="{56D8380F-29D4-D398-E9A1-DD7580D9FB1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28" creationId="{61252115-DDD2-8D51-C4EB-35A5DDAA84F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29" creationId="{6CE67FCE-2000-86F9-8F4B-0B7D40BFFA5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30" creationId="{0D564428-EE0F-8E38-0A44-74CDFE71CFA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31" creationId="{9351C5B0-8D36-0104-E5D3-B2338FE5FED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32" creationId="{0D78B210-8A7E-A201-46B7-66238339B76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33" creationId="{2DC545B4-9592-A2A5-D76A-50499022310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34" creationId="{3EFD8B84-4FED-A2C9-89E4-5F1DCBDBF1E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35" creationId="{FFACB62A-41FB-15DA-4DDB-FC6D36A5B73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36" creationId="{0FAED17D-0B29-BAE2-3192-5C69E3927BA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37" creationId="{0B7228AE-AAFC-F0DD-23EB-B3D18F8C80D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38" creationId="{1F231165-DBAD-494C-FC21-DBCB00FBC6A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39" creationId="{6BB544EB-1173-5BA7-9D14-BED1AB57C2A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40" creationId="{23631C92-F937-BC43-4CB4-E36B4462F1C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41" creationId="{AB89265E-E221-E017-17F9-B527E0AFDA5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42" creationId="{0E3DD166-B773-BE57-ED3A-4D2316A43D9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43" creationId="{36FD7047-E01A-FB81-D0F0-B1F67CE5A92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44" creationId="{3813ED92-577D-D52B-514E-43A417B5452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45" creationId="{5BAF13E6-CB04-D7A8-5D6D-09A9FB07257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46" creationId="{13F2F272-7264-7AAD-FED1-1FA36AA3209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47" creationId="{F845A196-F1A8-7734-84EE-FA17147A6B3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48" creationId="{91D58378-CD4B-05A7-4986-5B5D3C0933C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49" creationId="{AFE8E2DF-5205-A791-0B3B-95E40BE3107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50" creationId="{5BDA8C3F-75E3-2CE0-9924-85C13A1ED62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51" creationId="{B5DAB959-CC27-BEBC-72BE-7D2552735F3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52" creationId="{802E577D-24F6-4694-3ADE-7E301781269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53" creationId="{3F939098-A2B9-37E1-A4AD-82CF806CA27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54" creationId="{C6663550-43EC-7537-548F-E3898A6BCF6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55" creationId="{475C8E12-53BA-A648-8D1E-1151743599B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56" creationId="{A5651864-CEF7-0488-83A5-E7F5E484A89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57" creationId="{3327573A-6256-C885-758D-2EFCEEAECF5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58" creationId="{E303C71A-CB19-5B7B-96B5-87A552B5BBD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59" creationId="{555D12BA-4E74-C1EC-25CB-60FB3C69A2D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60" creationId="{D459B96A-AE8E-D3C0-3340-4CF7055F07D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61" creationId="{BD36EDE9-0DF1-B109-F69F-79173D12A10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62" creationId="{B754D541-E48D-F6DE-1CEF-BDCD8E14FBE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63" creationId="{CC3258CA-2866-5B3B-776A-869A1B002C9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64" creationId="{C101C5EB-B912-B979-9C44-E61F21B15A1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65" creationId="{8BABEBB3-B382-EBD6-19BB-43EF289E2E2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66" creationId="{BA2C6F43-46EC-4F67-E2D9-0AB04B5670A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67" creationId="{800A002B-B76B-BD95-9447-ACFA8B009F1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68" creationId="{8A094584-4172-5938-535E-422665F9587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69" creationId="{F9288C6D-5099-2746-7DFD-7AF4AFDD34E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70" creationId="{A8C6ED8A-5378-4135-BBAE-BBA7D4FC2EA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71" creationId="{125C6CF6-FF05-E4CC-A6DB-FAB030CF42C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72" creationId="{61ED98FF-787D-70BC-5EC5-3AE993CDD39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73" creationId="{282E1538-EAAE-D82F-E97A-3D5ACE7AAC6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74" creationId="{3039FE6A-CC25-BD05-F01F-BB56807D835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75" creationId="{175515C5-1C6E-EB8E-2395-F996F1E5B77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76" creationId="{0074CC5A-A0E4-3D3E-B4A3-5B78FAF6A5B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77" creationId="{E47A0A28-C617-B5F5-11A9-00FD77EC38A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78" creationId="{D282BF3F-4EC8-C26D-83B5-C43D77292BC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79" creationId="{EB162E21-0B3F-01A6-51A3-2427F8CDD4F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80" creationId="{69026B28-EDEE-7B04-E5D0-767B2F8AE8D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81" creationId="{89FE5A7B-2365-7D5D-D123-1FCF73E1475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82" creationId="{F045944E-FC1F-9DDC-4B0A-123899A721D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83" creationId="{E0E1D5D1-4D67-527A-083A-75E77FF2B0E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84" creationId="{CA72A586-3450-AB60-F6FB-D055187ADCC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85" creationId="{EADB69C0-904F-2AED-6C44-649D938D44E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86" creationId="{6137AF8E-98F5-B736-D310-A0E523C46E9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87" creationId="{C82BBBB2-1133-404B-3546-0EB5E3F116A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88" creationId="{9A0E9765-39D9-DB3F-AD1E-DF0490B3A01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89" creationId="{A5C64577-9C49-5441-7E46-2F853BA9728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90" creationId="{8A519DE6-5444-34D7-3DF7-10D6AA86030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91" creationId="{DE69FDEF-68D3-A819-13F2-B5B1932A0F4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92" creationId="{993BC6AA-674A-F8FD-BCCA-321D243478B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93" creationId="{7A893EDB-BDB1-5B90-9E8C-B0438D0AD74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94" creationId="{42F55D8A-D180-FFFF-2C46-6427A93E03F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95" creationId="{5790D9E0-2F62-E2E5-167D-0EF6B63885F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96" creationId="{66066B4E-785C-9B86-D7C6-4203F088018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97" creationId="{F2DB6691-9B3E-E3BF-25C4-AF02D7A764F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98" creationId="{09264231-A124-F576-F369-91D461D9148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199" creationId="{91F0D091-F86A-FE51-BF0B-CE86916422F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00" creationId="{E306AD5D-FD69-A49D-D385-8A30372821E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01" creationId="{972D720C-FBF4-7B78-BCDE-692139D087A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02" creationId="{5EE433D6-7CAD-167B-D161-E4FB7BAFE71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03" creationId="{FDF015CB-78E6-74D5-01EE-5D0FCE19DC0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04" creationId="{65958520-6C33-CDAE-00DE-DFDDB0CEF84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05" creationId="{22ED8915-5A57-B61F-35AE-DF485172D48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06" creationId="{78905FEE-CF79-409D-E062-7BA896B2E85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07" creationId="{757E9E26-7FEE-018C-DAFA-A5650AFCF59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08" creationId="{F0914690-B9D4-70D6-9F4B-87B0266C1F6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09" creationId="{DFAF2719-D00C-9754-CD5A-EFEA988C1AD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10" creationId="{855B2312-3FB5-40F6-97C7-E2E258D60A6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11" creationId="{8EB07EDF-D0DC-25EB-60DA-3B3FB8A3A40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12" creationId="{BA6A7B4A-62DE-CCF9-0527-604F7A9CF3E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13" creationId="{3FD0CE56-1B7C-21C5-D27A-DDEC72660CA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14" creationId="{03AF6F4F-5960-7905-4845-C19F1874B25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15" creationId="{DBDB645D-7EB8-CB61-CAB8-23CF859FB56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16" creationId="{A5A5AADA-EF5D-8A67-2B8D-402A3D5F027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17" creationId="{959B7AD4-4B4B-6EBD-F1A2-48E058560AB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18" creationId="{CBB85941-B63A-B036-EAC0-15AC20093D7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19" creationId="{CAA33D9B-C609-31EF-2465-65A70DDE105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20" creationId="{03BEF53B-4002-A31A-999F-FB4B23DC003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21" creationId="{E5627759-6746-71BE-0117-C8637543A34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22" creationId="{183E8D90-84D8-455A-CDB4-29F358D97F7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23" creationId="{B94C00E6-6D9A-52BF-E1D6-8FD92E0E786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24" creationId="{50C023E4-F3DC-8510-C86D-43F38C54FDF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25" creationId="{05F5D957-9DE9-8EBF-ED9D-4F33B79E88D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26" creationId="{257B024C-BD44-CD48-013C-FDDFC285332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27" creationId="{C51C8E33-2EB9-283B-9CF2-1F963FE83D0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28" creationId="{C312493B-3212-35B8-742D-7DA022CA3B4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29" creationId="{4894A9F9-A845-E26F-6C18-5C7FAB42E3D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30" creationId="{E123FA40-E4E0-F03C-DDF1-978D9186380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31" creationId="{73C0244A-5331-FB37-9C5D-57E2685F83B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32" creationId="{E28A869F-EBA1-9D21-D91B-FFCE902520B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33" creationId="{D7026C60-4530-C2B0-1FD8-E6737F4C1E5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34" creationId="{CAB1320C-7033-C260-FDD4-74F9BCFAF82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35" creationId="{DD7ACC36-63E6-2662-A591-8E66670702E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36" creationId="{37E75AD6-F7CF-97E8-FA5C-FDD6A00BCFE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37" creationId="{F1B611F2-3409-1811-D8B1-A78EA5C3BE1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38" creationId="{C979B987-CA7D-0072-2496-E6143D08652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39" creationId="{C7EBD431-6100-99B9-82CB-4186183C186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40" creationId="{C6241D79-589D-C81C-70B8-332B526AAD1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41" creationId="{BB34EC34-DD91-5F72-CDFE-0BA156A2E7E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42" creationId="{0F90960E-CD74-4AC5-0EE5-42126A20A5E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43" creationId="{EDC9369F-C97C-241B-D20B-1E158693FD9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44" creationId="{9E636C9A-CBB1-6F66-4DAD-9C25E0277BF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45" creationId="{0D44EF09-9CAE-71A7-D365-43CA07E2527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46" creationId="{00CFC25D-FB79-2748-524E-26BC899AE23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47" creationId="{C12CA9B1-A0A3-4A1C-02F7-10D82BCFB2F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48" creationId="{C879E82B-C213-48B9-6345-29F7F4548C4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49" creationId="{4868E68C-4705-907F-727D-23B8F193419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50" creationId="{31FAF7BC-F0F0-ABE8-138B-6C6D4A91605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51" creationId="{1C3A6D93-E5B5-D347-EB0D-18DC528A507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52" creationId="{94BBEFA3-8936-9819-C12E-36BDED5AAD4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53" creationId="{D46E4ABC-380B-10F3-02CD-4A33376898F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54" creationId="{7CC157B9-FE76-06D6-81D9-D6125B37289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55" creationId="{26ED0791-FD20-80C7-06A0-E98E3CCE64F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56" creationId="{09F9FDD2-C323-7F86-E9D2-C819571477E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57" creationId="{7EBF1247-FCAF-1DB6-229F-4B3EEAE6496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58" creationId="{A6ABB447-5233-8B4D-A7C5-36DF11517C4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59" creationId="{5EC280AB-FECD-CF92-12F7-A0EA944BB05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60" creationId="{3D213613-E64F-933D-1962-371D583CB00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61" creationId="{FAE35DC7-D8E1-E460-1CA6-15ABE015FED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62" creationId="{62C8E476-E1B6-808D-C059-DAF227AF113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63" creationId="{2B1914E8-BA06-D367-8E1C-45C217B4170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64" creationId="{390F8413-694D-4C92-514A-F361E423D8E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65" creationId="{D565DCE9-1760-0E52-49CD-5B48B12E33C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66" creationId="{9C2F3008-5F6C-1676-8393-456D5D8A73F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67" creationId="{A8509FAB-2239-6A08-EA97-8F537E8F654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68" creationId="{DCF3C789-ED6B-B470-87A7-EA22AB94D48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69" creationId="{2F2DF6F5-913A-AC6F-A879-70310D41771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70" creationId="{4A8E35CC-6186-721E-DDFA-D5C93F22E8E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71" creationId="{95676D79-5849-3639-F52B-9CC3C7602E1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72" creationId="{AA76C48A-BD51-302A-DBC4-D87009B9C93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73" creationId="{21DD3670-B89E-D742-7DB9-BD5BACAE4E8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74" creationId="{A371E1FD-FC03-C3D6-FF94-6F8D585533D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75" creationId="{BD62151D-796B-8E86-54BA-FDBDE356363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76" creationId="{DBAA091B-2AE9-E470-B902-7927843B402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77" creationId="{AA670219-2C90-3CA6-F726-D6C380BCF56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78" creationId="{89BAE952-43C9-DEA8-0813-E2BFD84BAB8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79" creationId="{6CB39FD1-D9F4-FC3D-75CC-C0C8496F947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80" creationId="{4634311D-B7A5-74CF-85F2-71E856C312F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81" creationId="{EBA573C1-F2E2-FA75-C8D0-044BD0A14A6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82" creationId="{2421CC3A-D4FD-8C42-0B45-31A96BA30ED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83" creationId="{262BB0CF-3E85-BEDD-2DCD-0084F633F62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84" creationId="{CD541908-E734-649D-1537-7B33549F338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85" creationId="{38208928-AACE-93DC-DFBE-5BAFFEBA2BE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86" creationId="{672CBF30-B66C-B991-8C73-5DB66124D2B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87" creationId="{4992C913-F9FC-6DD3-AF42-EF931ED0F43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88" creationId="{95AA4B23-11A4-FB35-7626-A04C759CDF0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89" creationId="{024D21BE-8BC8-4B42-907C-3401EFB6BCF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90" creationId="{376753F3-823D-0423-8ED3-46CF8F4B472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91" creationId="{60518614-9A3E-4021-F392-2CAE8F44B5B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92" creationId="{0D2F7B5F-CCF1-80F4-C2B1-0EBE35B88B0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93" creationId="{21A80A55-410C-D6A4-C219-5918F89F169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94" creationId="{C3174C13-CB95-0F66-EDF0-E6C7FA34663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95" creationId="{591AB1EE-8B0E-B980-B162-B4B66321467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96" creationId="{833B5E72-C4D6-ABF9-0FF4-E7B5927D565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97" creationId="{B7496DBD-738D-8DB2-01B9-28D069E77B3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98" creationId="{FB75EC34-4CC6-49AC-890F-7FC48C42D2A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299" creationId="{21DB9072-A589-E138-3B42-F3B11FACE32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00" creationId="{D3CC2AC3-8867-3007-3969-ADC0310CF31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01" creationId="{0B4EE349-5A14-8463-E5C5-3DB6F627FC9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02" creationId="{8BFD520E-6E89-7D01-0608-7BBE973428D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03" creationId="{EC33EE0E-236C-4C41-4DC0-D5776226802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04" creationId="{1920AA42-81D3-7760-CA86-8F8B352F4A0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05" creationId="{A6AF5404-4A02-34E1-C9EA-A5822153903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06" creationId="{7908CF2D-D73A-13DD-3D93-CD88D5D04C7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07" creationId="{FAB367CA-1E02-9ED4-8D4F-1975C007EBA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08" creationId="{BD8DC1D1-361A-ED6A-7E50-3C4E4D401F8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09" creationId="{BEE7E6B6-A45E-6219-8705-25226A8C9EF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10" creationId="{9AC1ABC2-9F6C-653A-2B49-F8F74F1B923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11" creationId="{96BE3C9B-A91A-0311-A9A3-111462BCEFA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12" creationId="{D59E4D96-FDF9-C89E-EEC4-C842E485987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13" creationId="{13CA8B2F-4030-05C4-D33C-5385E04A722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14" creationId="{82E098AA-DCB0-8889-22D4-23F7F203035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15" creationId="{9FE2604D-A3EE-F635-2871-1DDBDE5B780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16" creationId="{0FFD0862-BD28-9C3D-4481-7456BE2C4C7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17" creationId="{92766C78-0D78-9018-FA93-445A05D98D9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18" creationId="{967B477F-CE99-3A19-8E73-F935E18C2C2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19" creationId="{2701E5E9-D825-CB2C-9B0B-17F868C3558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20" creationId="{9866A54F-69DC-42BC-9C58-ADD295CC8BD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21" creationId="{3EF0FC7C-DD6C-9CDC-F646-3A15EBBD2C4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22" creationId="{FAA54B07-0965-F9E0-8C09-11D7A24E9BC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23" creationId="{32CF540A-1F55-E19A-FADE-7AFD5428640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24" creationId="{BBA804C4-E0C8-CC00-4B7B-A635A166539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25" creationId="{CE7BB622-BA4B-057F-50CA-3304F822064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26" creationId="{37B4770F-8854-5EFA-5711-AC6EF223B64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27" creationId="{1A2DECD3-C012-11CB-31CA-8B115F0EF86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28" creationId="{37415C69-B649-59B8-CDBF-F3F5128105C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29" creationId="{E7790939-1368-941A-8274-2C0B8BB969F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30" creationId="{69FE3BCF-81D9-7339-EBDF-3640C1F3B73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31" creationId="{B71A49B9-6C7C-032C-B463-7C3301DA62E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32" creationId="{4E31172B-0E98-65AB-FD3F-F2C17CA29F2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33" creationId="{7F6545BA-2F12-8A01-6739-43B7457CC23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34" creationId="{E70BC301-C1D3-CF39-04F7-70C4D9F97EB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35" creationId="{5F770A4A-C54C-5A2B-7A7E-5F2F3CBB21A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36" creationId="{2F6A4731-22F7-604F-51C6-37A13F80CBA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37" creationId="{23A57F8C-F877-8428-9734-A72E3D41C2C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38" creationId="{7AB54D2C-74BC-5D02-E16F-B2D51AF4AC7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39" creationId="{27C6D111-A9EE-A45A-526F-040BDE61DC6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40" creationId="{4BE0E596-4FB8-10D6-F375-919925CB519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41" creationId="{4806E4E5-E275-0B40-9492-0AC9A52C017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42" creationId="{8212A2E5-4F31-5ACE-D574-765B4CBA8C0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43" creationId="{9C935F94-0A07-44E5-B817-E5E72206102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44" creationId="{9487F97F-A004-C551-B87A-FBFBEC2472E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45" creationId="{9A7D508C-42F0-59DB-E38F-B9232B4B0B3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46" creationId="{957168E1-BC2E-D461-0730-1C3195085C0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47" creationId="{6AED29B7-5C65-3FC1-901E-67AE6F85F7F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48" creationId="{BBD9DA06-60BD-8E8F-631E-179DEDE474B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49" creationId="{DBA242AB-892A-3D3F-BB9A-681A9614ABD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50" creationId="{D39ABF3F-B75E-4804-4C3D-18898B618E2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51" creationId="{B9FCDD9D-181B-6E4C-AEE3-AB7E74E04CF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52" creationId="{F0128975-5291-0660-DAD9-AC8F136B32B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53" creationId="{739A3023-602D-8E9A-AC5E-E14A0038F8A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54" creationId="{BADAD9DD-2DEB-E4F6-3CE0-8F4CB33FA8B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55" creationId="{ED1DA77E-C444-F634-384E-6EB877BFE4D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56" creationId="{6E32EDB9-72B7-B397-0C00-5FA4E9D1709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57" creationId="{FCD3BA9D-6D38-C276-9F6B-EA40A7D2555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58" creationId="{5E421E90-FD23-BC25-8384-B910852120B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59" creationId="{F435D8A5-06D1-A2BA-532A-60CA884F71B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60" creationId="{5A66EEE6-56CF-2D80-C4EB-F9B9DFE45E2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61" creationId="{84267CB2-7C54-D1AB-0F16-41977B2A9D6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62" creationId="{DAC1E235-15D4-203E-5820-A31C755B586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63" creationId="{B0051C70-9DCD-95F3-3C1D-0D5AEFC0BBD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64" creationId="{C9F9DEB8-1235-5E3F-66DA-7FABC6FFAE3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65" creationId="{B38D63FE-3830-C4E0-8011-4044916BEEB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66" creationId="{C43F4760-8FC2-B68E-87C2-66150B9D75D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67" creationId="{B7215653-20E8-6389-BA07-18D37FEB3DE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68" creationId="{B93E943C-3BCB-02D4-9C0D-5BDFA14BBD4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69" creationId="{A38B2866-8BEF-41C9-8006-298C2366B43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70" creationId="{99995E3E-9EF8-FE2A-8D38-F9C0468355C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71" creationId="{E1DCF1B3-0960-14EC-5273-B6850A97828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72" creationId="{179994F6-40F0-F880-7B9A-CA96401985F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73" creationId="{A77C1F87-742C-32A3-4864-04E35E3B109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74" creationId="{BDE78CF6-8C3E-C9F3-E4B8-9B3E3C0BA24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75" creationId="{E7BE5130-6115-F910-5682-88DD4CD8500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76" creationId="{A0EF4613-8963-BAE7-B128-0EAA4475E87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77" creationId="{CC2E8B3F-1446-CF55-FA5C-D50D67445AE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78" creationId="{7C3C75C6-6307-DD18-D677-9EF2BC7650B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79" creationId="{8BE520D6-CA77-D211-2DA8-AF2158B2B97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80" creationId="{6513A245-A710-04D3-9021-4C214431D97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81" creationId="{CD1457CD-447A-D84B-3608-52B2A691A10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82" creationId="{31FE022D-D93B-55FA-3813-ED8CA175EE1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83" creationId="{0FFB7E32-126B-EF38-4EBC-36B6E07CD3E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84" creationId="{952BDBA8-B899-9045-DB9C-926F8262CBB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85" creationId="{DF365F36-5B30-7FCE-96C0-1B335B2B93C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86" creationId="{CD5A7C22-7823-E404-A94C-99160458097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87" creationId="{77EC6EE3-6CBC-BE5D-D827-DDB9686413D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88" creationId="{F23E9D70-6C1C-9794-594C-4153DD83355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89" creationId="{0D4D70DD-6D5F-091F-60AA-C366D8F4E38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90" creationId="{0BAB0BC8-49E2-1A09-23F2-5263FDB4F75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91" creationId="{B7602103-58CB-6986-2662-D8228C4C99D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92" creationId="{B66D19C2-7DDF-26D6-D3B9-20DCEF4B031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93" creationId="{992368FF-C492-35CF-46FA-ADFA615B9AB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94" creationId="{7003DA60-0BE7-BC80-C0E0-5CA27DE452B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95" creationId="{13AA5B73-1A91-9A68-6963-61575209C55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96" creationId="{584BBCDB-39ED-FF63-F280-320C93FDDE2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97" creationId="{E54B267E-0961-A843-71C9-D045FE5AE7F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98" creationId="{75711114-77D5-CF51-22E4-59019636E48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399" creationId="{92223E7B-B250-D93C-4619-D2EA9A4A09A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00" creationId="{D3EB11D5-E6E5-3FD9-F003-607E7258D14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01" creationId="{258E10C1-E618-CD4C-9C79-BC299B9C9B8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02" creationId="{298CB4D7-D879-9963-DF65-461B8FB2F51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03" creationId="{D2AFEC09-4554-491A-7494-396111115FE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04" creationId="{0345551E-67B9-7F07-CF9F-B07B2BD8BEA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05" creationId="{9F364393-CC27-DAC6-11AE-122DF667AA2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06" creationId="{17B12E76-1C6A-4B59-263E-6E20B2BDC85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07" creationId="{8AAE3FDE-A37D-4CE4-CFBA-EDDD4865DB7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08" creationId="{ACC9391B-9E14-BB8E-F79A-81C54F25D0F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09" creationId="{FC8E34B6-E82C-D5BE-F2B9-A91F2FF56A7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10" creationId="{D0390B08-D4F2-CCF2-F447-B5645BA0332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11" creationId="{9C54FC10-9F75-F8D0-E3F5-E46FF986278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12" creationId="{8F2F5AE6-D699-8E25-3F39-82EB6232688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13" creationId="{71B746EF-17DA-6B8E-1810-5B48D444C1D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14" creationId="{32B61F32-F236-6B20-B496-5E53AA5A5FD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15" creationId="{890128B2-6221-105D-7697-156959F9C97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16" creationId="{F3355A3C-4414-0FBF-4A82-56EDF4601EB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17" creationId="{6C7A1237-4CBE-7B15-D2CB-42096B2B57E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18" creationId="{E1FB4958-16FA-916F-1D64-738B0AF2ABF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19" creationId="{0AAA7728-9F74-810B-C78B-054B849C6AA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20" creationId="{777EA79D-9460-BD10-ABDA-2A9E509AB02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21" creationId="{593D7F35-8735-1A3C-02AE-38B1705D512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22" creationId="{EB7E9FD2-FEA8-39CD-9352-04A6A896CBB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23" creationId="{91782950-0CF6-A711-10A4-F3C69C7567C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24" creationId="{2DAF02E2-8464-6ADD-66D8-A25132B9E1E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25" creationId="{08291F4E-11BA-5C29-DEB8-3D3CA7CA7FC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26" creationId="{02633E37-0BCE-8B81-3F6D-C0E2C647818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27" creationId="{6177C3AD-3FB9-FFD8-D38C-05BB69D9570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28" creationId="{92395B60-7D3A-0D34-CB59-F81D8C7F8DF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29" creationId="{69DA7BFD-B812-8BBA-9E15-ABB7505C153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30" creationId="{B7CD1BE4-668C-9AF8-A11E-EE18D4EE106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31" creationId="{C319068F-8349-6DBC-B05B-B3F0618A657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32" creationId="{4F462847-4C6C-E6B4-7F26-35CDAD10580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33" creationId="{DAEF75E5-6BC2-ED1E-2AF5-2DB533F5EEC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34" creationId="{AC02DACA-F753-CCC2-C9EB-03865C2C584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35" creationId="{5386478C-948D-980F-585B-204015B925D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36" creationId="{C0E7060F-5DAA-8407-D50D-18583BD8A89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37" creationId="{C72E8958-F3F3-08C3-56C9-B788449F45A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38" creationId="{D6BCAD56-FB99-F763-36AB-234BBFA5552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39" creationId="{83F462E7-E6AC-DDA3-7B83-BADCCE88F15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40" creationId="{A965AAF3-2C6C-AD4E-C3FF-3405836C2DD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41" creationId="{6D9402F4-EB36-4253-CABC-2322F3E2E97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42" creationId="{68121768-F32C-5A25-A319-F32A0EB280A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43" creationId="{26074FDD-A036-2FFC-A4E6-8C0F681C620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44" creationId="{1AF03729-21D2-5148-DF85-16BD940D37A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45" creationId="{27011A0D-7F27-3919-9BC0-28DCD3421A0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46" creationId="{977D6BC9-901B-AD36-9749-E627FA2F3DD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47" creationId="{FF727F21-5EEF-39AF-2C4D-BE265799EE8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48" creationId="{0E15B943-B878-A5A9-335E-E6A012985A0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49" creationId="{919EB7BB-A6B8-8B0E-9B53-54819E1F0E6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50" creationId="{1DBBDF1C-E032-5446-BDFE-6A0487033E0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51" creationId="{9F5C1315-2DC4-32BB-C762-276634A6767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52" creationId="{98096CFF-A492-A87F-26FE-3F70F1443D7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53" creationId="{80D27771-8C6D-5240-8AA1-BD80E0B26A8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54" creationId="{9654ABFC-2595-792A-2866-95D06FE585C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55" creationId="{59CA59EF-941F-EE23-9107-3CA928DD6A0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56" creationId="{D10C0472-383C-29B8-3F94-3ED81CDDCB5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57" creationId="{CE661264-98DB-2DF2-CF42-1C40DAF8BB7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58" creationId="{B5093B17-4A6C-3FE8-CAE4-5AAA1051BA3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59" creationId="{EFD7D289-7C8D-2825-1C5F-0DF464A9951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60" creationId="{0768424B-4DAE-52F7-A59B-0F8502B46C9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61" creationId="{13D18E66-F88D-98FC-D5EA-4EE90E8DF20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62" creationId="{FA336F69-57DE-1763-90AC-3009903D6AD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63" creationId="{728C02CB-B741-DD01-1A00-CE8786DF143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64" creationId="{90328B26-CA1B-9ABC-5FF9-D9B39DC75D2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65" creationId="{14692A2F-2A88-74D6-516E-3DDCC04A0A1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66" creationId="{252BA9D8-5677-A212-04AF-6B6AF0C0396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67" creationId="{82C75DCE-415D-6C27-A483-E6412CFE7C7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68" creationId="{FEC91AD1-BD14-125D-085D-25C3C5CF002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69" creationId="{4F9589FC-9002-EB2A-63D5-787C7F4CB08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70" creationId="{F6D6495C-A3AD-D365-C54A-F7E577B275A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71" creationId="{59C14CFC-5CC5-6F0C-E3C0-3472428ED84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72" creationId="{5F5C3DFF-44E1-801E-0B02-5ADDBBBE9D5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73" creationId="{5C3FD810-4BC1-E0BB-1F90-C1E0D7B3C78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74" creationId="{444E70E4-253A-3F3F-3338-35875C4DC1E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75" creationId="{0B6D79AB-20A8-B42A-AC5B-EF798E09456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76" creationId="{CB2BF719-DE3F-A4E2-D01B-677211E18E6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77" creationId="{24792CB3-032B-1692-DEA8-951C504E683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78" creationId="{94EEAD42-9C0C-1BF2-3392-88C67D552DD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79" creationId="{220819C8-FBD5-8EC3-F805-89504664474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80" creationId="{CAD54DA6-6263-EF57-0947-C4F25E3869E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81" creationId="{AD18AB4A-6360-F7BF-4BD3-B78E4E55D0C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82" creationId="{3A109F21-D45B-D386-41A8-49428C1A858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83" creationId="{1A4D99EE-943B-BDFC-4479-E236CCC940D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84" creationId="{88B0835B-00ED-4D28-7D30-CD59A8DADCF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85" creationId="{A2ED5E09-42C8-27C7-8D7D-9ED3A52EA59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86" creationId="{ADC4E9A7-D4FA-692B-21D2-20D160D9954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87" creationId="{AC3D12CC-0B77-24BE-52F7-8CE7C45AE04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88" creationId="{8D0140B6-28F2-55E7-5444-B953AE1A16F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89" creationId="{0EFDE2C3-9A3A-022D-AC86-76790F455E2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90" creationId="{ABA30B27-959A-8A16-8542-74820899894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91" creationId="{D366D840-6AAD-FB4A-FA85-C09E5219481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92" creationId="{5B1F9C0C-B864-FB2D-8CCC-16138657B42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93" creationId="{5B4F7A33-7125-0DA4-AF50-767FFF98D33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94" creationId="{63343E16-ACB4-4E64-F387-67A33DEE615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95" creationId="{A7409131-75A5-616F-E94B-33C192C346F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96" creationId="{3385FC69-926F-2875-DFA4-0E044690A22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97" creationId="{9DD4EFC9-6024-C78C-07A7-E1C85671191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98" creationId="{FDDC1BE5-A9EF-7E47-4983-85DB50ADABB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499" creationId="{2FEA1B5C-9B81-B545-B5E5-7934F6ACB90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00" creationId="{49D26D70-917B-2600-19BF-9E06370B828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01" creationId="{68B579E3-9708-BBD0-16DA-5D38FC4EB7E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02" creationId="{31DED12D-6804-708E-D7F9-AEFB1547D35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03" creationId="{2D82620D-EF51-E861-0FCF-17F50173649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04" creationId="{69B58C25-525F-C5BF-72B2-3813BDD87CE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05" creationId="{3340C348-BCEA-E4D2-40A5-330C47B378F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06" creationId="{9B334601-6D0A-ED7A-641B-3B6AF047E80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07" creationId="{CC2B75E2-DE63-50D9-B8E0-285DF4776FC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08" creationId="{24E34C30-490D-A168-F9F6-467E2343E13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09" creationId="{A604CBA5-2F72-23B9-DFDA-A2A72C21A4D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10" creationId="{B5C6C96D-41BE-FCF2-8DF1-DF7F44986B7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11" creationId="{5BF324A6-F643-6975-6E9C-D361AE076D0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12" creationId="{6326D01B-00AF-5F5D-918F-272FD64C23C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13" creationId="{77F46526-FD83-6FB3-FDB1-2CF3C7C775B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14" creationId="{24EF6088-0212-894F-7034-2064C5C5622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15" creationId="{C7E6B1B3-0AD2-34F8-1D6F-7F8326E12E9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16" creationId="{011896A0-4207-1069-0D32-E48FBCB623E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17" creationId="{510B88CE-C865-7B77-A5DA-7AE2F1F8903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18" creationId="{29CDC38F-2A47-493B-1A62-DF57F4C94DC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19" creationId="{F0EECFE6-8ED1-2F21-1F5F-CC41598C6E4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20" creationId="{1F5DEE5A-5280-DA03-34F0-8A53CD58A79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21" creationId="{0C2A5456-91BA-0556-49D1-EB318ECDCA4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22" creationId="{4E685B19-98A1-CF66-838C-18063760A86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23" creationId="{B65C5724-A3A4-EAC2-9B85-29A49A05CF9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24" creationId="{F02F47CD-50BA-CB4C-85C5-A6F7A6331F1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25" creationId="{2FD619AE-4209-6B45-33DA-5285BFE93FF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26" creationId="{CFAD71EC-82EE-2482-E74F-2F7B15A76EF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27" creationId="{000BD5D3-F8DD-490A-40F3-18F4C784D24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28" creationId="{078AEC08-9B49-DC7E-3F1F-99169174F18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29" creationId="{902CF1F0-4386-9E72-EFF3-E6F21BD95E2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30" creationId="{DCAF26C9-4EDD-3AD0-64B5-D9FCC6CE6D8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31" creationId="{11E57145-096C-F111-608E-82A64BB935A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32" creationId="{917D6615-3EF3-2697-436F-AFC4CBF093E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33" creationId="{64674CA0-F419-04AD-8C76-726FDDC9074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34" creationId="{DDB7B57C-191A-DCA9-25F1-1ED5B28A659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35" creationId="{B1DD9232-1C8B-1172-E5E4-85D6F493037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36" creationId="{2EA8183F-920E-E759-2EA9-86E770BA6ED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37" creationId="{83138A79-8228-5294-9AA8-A31DF89B469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38" creationId="{1EB85460-6BEF-7CEC-57B4-ABD0C813B76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39" creationId="{5F7FFB28-269D-BACE-3B33-B1C3D7FCC1D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40" creationId="{5C51F2A3-B882-683B-5F1C-BD3690A7881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41" creationId="{82374BA0-BFCF-1FFE-6AEB-C12F811BEC8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42" creationId="{96317D2C-0054-53AB-37A8-88F1E58FAC9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43" creationId="{A1905E3F-7D3C-E7EE-B0AA-3DD277B191A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44" creationId="{5A6719D7-A133-DEA2-CF15-E258A9011BB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45" creationId="{AE7B3EF0-CC85-B7D2-18F0-604F0E79E6C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46" creationId="{847C2F22-9ED6-3DBE-618C-5EEC2E5BAE6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47" creationId="{78ED8A14-A457-4DF6-AD58-0AAAAC71A59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48" creationId="{C1DDC226-192D-BB36-7525-6C99A98C6B8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49" creationId="{3AFD68F0-9976-9C1D-88AA-1864269C7AC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50" creationId="{4B0BB94F-1C5C-E650-6766-171719B677C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51" creationId="{3301824A-7F4E-5ADE-39A4-FF47F06D487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52" creationId="{66948988-A0A8-A2CF-9591-890739F7984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53" creationId="{398F7AFF-7C80-4D3F-A0FA-8214C82818C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54" creationId="{B1DDE838-7CBB-18FF-53C4-409F3E93774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55" creationId="{60C1499D-34B1-4804-2D5D-CBF8E34C2E6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56" creationId="{20ED0318-098E-AD0E-6761-D1900F85611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57" creationId="{8E48E2E2-1B84-C762-48E2-F09EA05D6B8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58" creationId="{E935A4B4-599D-744A-FE08-15A472B66F9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59" creationId="{922026F4-5A31-9541-AD01-9C327D9063A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60" creationId="{6855AF92-CFF0-B6C7-8A96-66F131455A4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61" creationId="{5591FBCD-473B-8E58-7C06-A6150656A02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62" creationId="{616613F4-B74A-110A-5FE0-0596958C7E9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63" creationId="{1552F9FA-E51A-CDAA-7A45-20D9E926428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64" creationId="{A4CC80FA-F3F7-B451-D8AE-A8B91DC78A3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65" creationId="{BB2C7B7C-214C-6A3C-679D-FAA287C63A3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66" creationId="{60CCF4AA-9C7E-150D-4E1F-A184D2AFBAB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67" creationId="{B6FC2C48-589C-BD00-DA2F-F0EDF04BAF8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68" creationId="{E1388796-21F3-D26D-C96D-63F9BB21E3B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69" creationId="{C254D135-4BB8-0098-FDA9-2865C369FEA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70" creationId="{422D88A6-7E88-2281-F2F5-223B827DE87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71" creationId="{C9F38577-748C-2E54-8A68-FB20280866A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72" creationId="{6722D475-F5D3-D487-44AA-0DB1FA2EBB2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73" creationId="{C16A2068-CA29-E7B0-FF41-0A2AE4EEB62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74" creationId="{4B4E4815-97C1-69C1-79FF-7AABC2301BD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75" creationId="{4D801BDA-915A-ABED-6CA2-1B40B15D63A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76" creationId="{AF3A085E-9A94-D2DE-FF62-6688E77E7E0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77" creationId="{744D0D0F-B131-A2AE-ACDD-7430039C79F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78" creationId="{F94159B9-CBED-9311-9EBF-1FB5387EA02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79" creationId="{B50BAA86-DBB9-E715-D7EA-4E3DFA0CE35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80" creationId="{772926CC-AF93-DAD8-3D50-4F4AB2FACF3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81" creationId="{98B527EA-8BEB-B70C-DF47-978182EC522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82" creationId="{E334139A-8F0E-4887-2E4B-187D7A3639D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83" creationId="{D6A41595-34FA-1BAF-6663-D3289898C5D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84" creationId="{BC3D2B1E-F976-EBFB-F31E-000D91ECED6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85" creationId="{02A7E718-8163-32E2-F018-F0539E4D23B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86" creationId="{8AD2EE8F-809F-AC1C-6CCA-5DE0BBB58C8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87" creationId="{7C045742-DF7A-E81B-EB98-F5A240B81BD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88" creationId="{A2B3F643-2C7B-5DD4-E0C6-7387558F8E4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89" creationId="{638D9AD9-AC03-97EA-70E2-E9DA29AA26C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90" creationId="{5F8C26B4-B06B-D1D9-A8ED-94A95876098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91" creationId="{02B0EDEF-70AF-E640-D22D-343C471B662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92" creationId="{59D1B6D0-F23A-DACD-A2D9-5E5311A75BE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93" creationId="{4C13775B-4599-DCB8-B3DC-94BCB1629A4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94" creationId="{A8253C79-ADAC-51C2-D8C5-1A3B46E521E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95" creationId="{D28B319A-F199-238B-23CB-C6DBE4768EC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96" creationId="{C4EF48CB-88F1-48A4-32F6-AD88DA39ED1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97" creationId="{7F13C884-0816-AA1A-EDC5-754A55F90ED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98" creationId="{DCE46F01-A5F3-A308-790E-AF15621971E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599" creationId="{D19C5C73-5028-7D7E-D29C-AAB3AC19C26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00" creationId="{395E8AE0-2170-B5B0-0E9F-5A3E71B4625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01" creationId="{74FB86C4-4B29-33FA-02F1-CAADD85BCD7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02" creationId="{B9266619-5513-D461-C8E0-5EC4140B41C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03" creationId="{9A930C93-ADBA-424F-60CC-CEFA261633D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04" creationId="{EEFBE235-4602-EF2E-3AA8-502CC5398AA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05" creationId="{4F8F6337-7599-098D-BDF3-CE3CA2999D2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06" creationId="{CA8AAB68-6B17-BC66-2055-7D1BF2A7B15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07" creationId="{0E874AE1-F99C-14B8-2954-A530826D3B7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08" creationId="{BEB466CF-CEF1-0D3D-7F7A-2D22C8F43ED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09" creationId="{F02357BF-E630-95DF-5AE2-35270C13F98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10" creationId="{CEFCBB06-C0A8-CDDE-774E-EF5DA539C3E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11" creationId="{D6A2E284-ACD2-4347-BED0-B66AFAAEC8B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12" creationId="{84944A24-2780-7325-4AF0-A80E7A9E8AE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13" creationId="{9C307CDD-C370-4C4B-C112-372C49E9F18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14" creationId="{C53D4AD3-A625-2FA8-3F28-FFBC271B30D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15" creationId="{AEEC0DEC-7C51-B566-2108-B054D8171FD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16" creationId="{640B1323-F6E2-4263-DA91-E0CF6900A26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17" creationId="{8F236AB3-6E93-2692-3349-99C928140BF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18" creationId="{3DC1F9E6-512D-D874-2C9F-2C182B9D0B3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19" creationId="{09A73381-F5F3-1FF9-985B-ACEFE3BE036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20" creationId="{2CDD4FBE-9688-3A96-7441-172725E737B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21" creationId="{3ABBDA90-2E2A-927E-D7A2-4290E04582D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22" creationId="{C1649AF2-CA51-CCD7-E8C7-AF9C4C796A7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23" creationId="{0C657FDE-F6D6-ED9C-4FA5-B3B62DEA942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24" creationId="{05095A38-0F20-13A2-D92E-3B40A05876E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25" creationId="{42653F31-7666-0E0E-BBCF-A4C5355792F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26" creationId="{5F69CF30-1E4B-6EE7-3784-A680670E2C6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27" creationId="{CEE50BCA-8E0D-F310-EFBA-F6C1DB07E31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28" creationId="{F3649EF3-B9A6-2365-0D9C-8D6E5D4F4D6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29" creationId="{BF314A2A-309E-E607-3F0C-74260A43408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30" creationId="{22A85922-C6FD-4755-12B1-D489241F543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31" creationId="{702B7E68-F2AC-41FA-5F24-36F5BF7C588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32" creationId="{68A77639-2BC0-AF4B-E35E-471E4CBADB2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33" creationId="{129C836D-0588-F32E-8BDF-03CD45A68A2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34" creationId="{F6EDB80A-9B8B-9C07-C4BE-9C0B4ABEA90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35" creationId="{1C285E2D-8822-4B91-40FF-7E1094C0C12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36" creationId="{5EEC6ED9-7179-3582-2C3E-FF4CB4E534F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37" creationId="{F81A0BA9-1A25-BCD2-84A8-5994A79C313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38" creationId="{C423D950-2DB7-B293-344F-FE6558386C4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39" creationId="{FA737F2C-09D1-60E9-A111-EF64593078B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40" creationId="{255D9B84-B908-C7A2-C123-6A6227090E3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41" creationId="{A8D24263-D9F4-DAF1-D3BC-EC422C770A4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42" creationId="{A3609DEC-F6C1-FA93-E90F-19DA0BBFA98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43" creationId="{71710350-4E54-416D-B54A-C36C07F82D5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44" creationId="{8DD163B0-558F-2A6A-1FEC-354EA163645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45" creationId="{02062102-485B-ECE0-0DD3-26C1424E75F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46" creationId="{059B8148-0512-D33E-FED1-69BA932A3CA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47" creationId="{1FFB6EB2-A2D1-F6E4-29FA-48E86D15C03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48" creationId="{35015C6F-2F16-E649-DB51-ECAF5AB9083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49" creationId="{81510A0C-C294-27B9-4C5C-4964A77A8EB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50" creationId="{25BDD75F-0738-AEFB-2AB4-CEA18712AD8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51" creationId="{587922C6-26EF-AE49-4900-9C8B1591E30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52" creationId="{2C4A7128-CA96-D6E4-1202-1CC12FEE1DB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53" creationId="{F676EB64-48EA-1F00-1196-DBA62A7E2FC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54" creationId="{7968ACE9-EC3C-7A7C-E4D3-8FA1883E841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55" creationId="{3CA301EE-7D3A-98FA-0889-634B0C4E0FC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56" creationId="{B9ECF22D-E20B-648C-CCAE-C59B17BD675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57" creationId="{98EFC858-B485-C504-B94B-8FFC9711065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58" creationId="{14BD4FC6-72CB-78EA-3169-65E991DF991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59" creationId="{18ECC259-2AA6-C3D5-E1FC-DDC8F3D455D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60" creationId="{C3464676-D2E4-380E-8B65-735EA792E1E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61" creationId="{96154607-20F3-7DBA-3C08-79E0372F007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62" creationId="{BA1BD314-C70C-13F0-56FA-D993DD8B01F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63" creationId="{E41D19C0-6432-4F17-8A77-8A81D4DB32E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64" creationId="{8470A84D-16C1-E2E1-6A18-6B046001A1F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65" creationId="{4B747664-9910-9121-A86F-412A97925C5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66" creationId="{0A50AE73-AF81-B17D-3140-9BADCCAA67A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67" creationId="{A6A3D436-7E54-223C-D8B6-444961A5822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68" creationId="{78B5B6FD-6649-3BB3-216C-31E35428C58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69" creationId="{A9364CCB-FE57-1B38-F471-3831586E1C0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70" creationId="{8CFC5055-D68C-7DA5-E9F9-00DC4D432ED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71" creationId="{946B5055-387F-EDE3-B259-BDB1A016080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72" creationId="{591E3512-F655-5B8A-AA62-E688BDA4916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73" creationId="{7EB3C579-8B9D-693F-1461-E2E52AC5F91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74" creationId="{8896C964-7F13-3406-95BD-882D25C74E1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75" creationId="{488A1974-366C-7055-2A64-D06AE697EC8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76" creationId="{B4B9EEA5-D578-CE24-E985-08E41906A14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77" creationId="{3E1B1BF2-6779-94AD-7A53-3BE010EFCDD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78" creationId="{F3F025DB-3D2A-6E14-FCF8-F78F681C8FA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79" creationId="{DE7A0C04-66AB-987A-6019-C00AC2A58E2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80" creationId="{6D1AC1BE-6AA0-D331-B6B8-66D6C4B16A7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81" creationId="{27F39CE3-6D89-D69B-DA0C-D880178795D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82" creationId="{885EE27C-8D50-AF0B-2F87-F037D9A8644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83" creationId="{6C606C75-6383-00C4-D796-8698C78D82B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84" creationId="{41AF5523-2A09-B6A1-C09E-79026D3F67A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85" creationId="{42FE0664-F2C1-7A67-9299-D4B2D2DBA7E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86" creationId="{A455F061-5642-1497-84D5-B5C4377EA43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87" creationId="{C4C5348A-594C-08D9-AC7F-4FBD55EADF0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88" creationId="{6ECF5EB9-FDE3-FD51-4F8D-0B013F1D284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89" creationId="{EDA32238-4AFA-8361-DC19-AE482BEB2C4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90" creationId="{EB93C89B-4A2A-0DB9-BDC1-4F4BB868A73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91" creationId="{6C58F53C-ADCC-7448-EA58-959A616457C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92" creationId="{A4744B71-5CE0-44CF-06C9-3550A9D943C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93" creationId="{AF00AB9F-A01F-5BAF-55EB-7F9E3A75225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94" creationId="{6B516382-296E-A418-5C12-14282949248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95" creationId="{322493FB-48A2-A200-A20D-79F0B36E96F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96" creationId="{1E125BCE-48D7-20A6-F42E-83234AA4049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97" creationId="{41802594-EE22-7F48-D679-CDF7E8BACBB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98" creationId="{8313EB53-5D03-1284-138F-AF8E1B012BB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699" creationId="{DD15F58C-BB4C-12EE-F365-56497905F58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00" creationId="{546FA0FE-C17C-550F-3C34-B10230FDFCD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01" creationId="{A70BFD22-6956-E509-8D8C-473AE8C3DCF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02" creationId="{89F8162A-1545-5B45-73E7-C763360037E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03" creationId="{4EF4ACB3-5BA9-45BE-7E67-CC3D82718E9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04" creationId="{EC4C4460-83BA-C7F9-4F3C-03A71EB983C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05" creationId="{01A65070-7CD3-8BAA-E501-91F22CC9385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06" creationId="{91DBFBAF-0AB2-C82B-FD6F-519CDB09618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07" creationId="{3BE0F017-E219-9E41-F3F3-FC837CCA25D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08" creationId="{F5AA4A2A-ABD3-14A3-7900-7B9A099CB72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09" creationId="{EFF5C188-1768-9D97-9A53-AB63244EE85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10" creationId="{1D259A45-416E-4FAE-37B3-2EF810AD7A6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11" creationId="{58E919F5-3844-35DC-5467-0A2E9F85AC3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12" creationId="{88FC61D7-9AEE-EA36-3727-3EDFD6FC86C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13" creationId="{919BA258-B7F2-156F-DD7B-21CA4A902B9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14" creationId="{F93E3C31-A6F8-4086-6286-EE3F0743599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15" creationId="{B49EC735-099B-D391-0581-575C26F4E85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16" creationId="{406F4D64-469F-07F5-395E-7BD41F308C6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17" creationId="{481C51DD-8A5A-86FD-45F6-7BB8E41ED6C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18" creationId="{969D8DD1-0FDF-98FC-09C3-255563D7B88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19" creationId="{698E3BF0-A74E-8C43-BA1F-F0CCB4D479A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20" creationId="{9F48E39A-2B56-5F1E-C37D-15B4520CA7A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21" creationId="{F56C19CE-302B-D65D-3202-90A11B7F981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22" creationId="{F98CCCAC-DEE5-0DBD-07A6-D90D7499352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23" creationId="{CE54729B-E334-7EFD-267E-EEAFE221531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24" creationId="{607D8660-1081-F497-8A7B-84310CFDFB9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25" creationId="{4D758276-71C9-662C-2BAA-8424F797ECF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26" creationId="{FCCE8AD1-7846-8FF8-E53C-C7A0E5125A2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27" creationId="{6E025139-ADCE-90EF-000E-391BDA8AAC8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28" creationId="{2E2FC892-B115-F0E4-0178-D04E337E8C5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29" creationId="{0A595810-A262-FC90-890E-A88328553FE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30" creationId="{F680416A-8CA6-BA10-30F7-3AAFA614806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31" creationId="{71A175E9-55E5-C38A-60D9-A8CCE4E0B47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32" creationId="{7DB34198-0007-EC02-7E3F-59A4CE101BC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33" creationId="{40D42F59-FB64-801F-A8A2-B6CC52B7AA3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34" creationId="{0E9D97DB-D9D6-D2D7-12A6-1BB3F09259F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35" creationId="{C56978BA-6B6D-83F1-AFCC-1F95F848203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36" creationId="{ACF151CA-2244-E93D-C439-7BEE9CAC9CA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37" creationId="{AF40E046-D36F-1613-7546-75FCE706073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38" creationId="{B5BDA1DF-6959-777B-0559-B1D3289FD01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39" creationId="{B54E5E3E-DB62-E41E-6772-9B3749E5787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40" creationId="{18C19A0B-0162-B80C-85BF-499541E3E77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41" creationId="{5163D35E-ACFB-7462-FE52-352AF98234D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42" creationId="{BEE8E3B0-9923-29A2-1828-18BBADFE938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43" creationId="{3A27A1B7-4CB3-D4A2-622C-FE8424C1530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44" creationId="{2051B31E-B905-30D8-7AE4-94E19FE0AAB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45" creationId="{F94021CD-09AA-83F6-4C56-DF91A2A19D6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46" creationId="{54719428-3CA6-2DD8-BC58-754D6FB3E0B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47" creationId="{DC4D01A1-DD27-FC81-5C21-CFA269E0220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48" creationId="{3DABC8EE-2787-6847-CE26-9B9A0B37C51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49" creationId="{A15A40AC-4C79-6B4B-5981-0E984899B5A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50" creationId="{568BEEE9-5F6F-B2DF-2008-75767FAC358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51" creationId="{C8F4CC50-BC73-1ECD-158B-6EEB89DC710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52" creationId="{BF6C3B4E-6F56-91DA-6D6B-4D87382EA7D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53" creationId="{B7C93BDD-BC9C-DA44-07DE-35DF86199C7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54" creationId="{5DF84528-34AD-4205-625C-446E4075493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55" creationId="{AF85562A-7D9E-A37E-4EC0-E36C9B1C980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56" creationId="{C5B0434B-A2F2-2A90-EB86-406D6A5BA0C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57" creationId="{0AC23BC4-724A-8912-00DF-3F1ACD98001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58" creationId="{8D2BE30A-8A6E-8BE0-EAFE-49E405F5FBB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59" creationId="{1C6AD195-9840-BC10-BA11-B3B4B6F81F1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60" creationId="{A5CBD96D-D61F-3F83-2C26-49189AA9067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61" creationId="{3F5F811E-F274-A2BF-D298-F49F87484D8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62" creationId="{D85B7C40-4998-C9CC-CBC2-648EEAA9E82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63" creationId="{80BA9E2D-2469-FB0B-BD84-24F3F77F735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64" creationId="{2A759077-F9CE-EFF1-A39D-2D26DEF6861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65" creationId="{5C8469EA-ADF9-CC09-40EA-B9D9A3561A5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66" creationId="{BF27A6DB-D9F4-D709-D4C7-855DDD34CBE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67" creationId="{21E39C31-77E7-BED8-B553-F76510894A9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68" creationId="{638D1218-4F0C-F0E8-E761-996FC60C8B3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69" creationId="{6040DDB5-ABDB-34CF-DD08-F83D6DC4DDF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70" creationId="{CDEF7B13-D65D-5356-2038-CC628451393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71" creationId="{6D67D811-CE4B-007C-E88F-641DE99BB58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72" creationId="{FE9FF060-FE03-D51C-9101-FB698FBDF2A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73" creationId="{0D13B1AE-626D-3D76-5B2C-7920821FAEC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74" creationId="{2093BF40-9F7C-0994-1C70-EBCD7815116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75" creationId="{0AA1D72C-CC02-02B8-8AB6-D9DD16547E0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76" creationId="{D34F7272-40EE-B9F5-6355-32A56293083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77" creationId="{B297A844-E1AC-E89F-3C39-266E21B3CFA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78" creationId="{7D8DEAF3-D8B4-5B1A-BE5D-B9B579C29EA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79" creationId="{FDA89720-B5A6-0946-C91E-E5A34AAA3E7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80" creationId="{907F8813-BDC3-18D9-A120-52BE68F0CC2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81" creationId="{C80D1F6D-D880-AB95-1742-3B7324D4265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82" creationId="{27FD042A-BB4E-6ECF-D7A0-D8E3BBB9EC1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83" creationId="{6109E233-F74C-6377-FB27-933DE6A2601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84" creationId="{D02B46F1-1CDF-C0EE-0E3A-887BD9B0EB2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85" creationId="{29E48451-0723-CA48-72C1-E6C05460B8F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86" creationId="{905A50FB-C019-DABE-8117-67D8F04FD5A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87" creationId="{3DD2EC31-9E2A-3DA4-E438-3A5FD0C0FD3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88" creationId="{B74B5AFF-2BFA-7C53-D789-CEABAB18406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89" creationId="{E96514E1-5D58-28E5-A816-0B96DEF546A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90" creationId="{A2156AE5-31F4-FA08-2F83-760426B76AC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91" creationId="{73DE5C4C-FD04-9BAD-3F4C-92B9A5134D0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92" creationId="{4D219EED-7ADD-EDB4-F7FE-F4A0F63DD92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93" creationId="{72546EB9-270F-07A5-BEF0-C1D048EEF9F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94" creationId="{9ACC0C31-1A71-48EF-06D1-855E60AF269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95" creationId="{2801A519-9F2B-E1AA-76AA-85F71EA2180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96" creationId="{553032A5-7342-C0E8-9AFC-214C9D5E490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97" creationId="{2051E69B-97B8-3E19-3041-366395D590C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98" creationId="{667C4BD2-681C-D739-5271-2DC87F05778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799" creationId="{265D10C0-322C-0581-8A75-55EA5CE17CE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00" creationId="{9CB17B37-2C5E-7CAA-2022-3E1A4779A1B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01" creationId="{EA04A1B0-7BC3-A0B0-3576-4DA0DC4F314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02" creationId="{9F996922-D7B0-5704-BA17-ABE95B24921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03" creationId="{9345B361-91D3-44EA-0737-8015BEC6E9F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04" creationId="{ED9CE55B-DF24-9B6B-F5A2-71C5FDAFA94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05" creationId="{72F36E70-9A52-91D4-A3D7-3E50717F693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06" creationId="{CA56DD9A-59F5-72E3-9ACC-8AF37137AD7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07" creationId="{271E3186-175B-0030-0E28-31A632E81B8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08" creationId="{760B556E-D13B-E4EE-42D7-9DC9788AFBB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09" creationId="{D84520D8-A508-450A-3657-B88BD104FBD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10" creationId="{6CA093DC-6519-6733-E4B9-2F38DAA401E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11" creationId="{B0989968-3ADA-C8D0-EF25-8CF04B76542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12" creationId="{9E895E5D-49BD-AC6A-5D22-0F32E709163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13" creationId="{BD665F13-FAAC-DF7A-143E-897772630DA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14" creationId="{B8C37DC2-531C-42B4-DA82-D69CA36BE27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15" creationId="{8148B3A8-5168-2FD4-D7CA-46673F63467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16" creationId="{4F7F4147-DB8B-800E-DE61-68A48A4A951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17" creationId="{F3E2E181-C133-1164-523B-5A69801ED14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18" creationId="{5285633A-5AE9-D065-FE1E-30F65925A5F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19" creationId="{CBC4665F-11B5-5C68-1FFD-615E2755687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20" creationId="{1CCA334C-FAA3-40F1-6DBE-3BB90C8A913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21" creationId="{2F104AFF-0B9D-379A-D68B-28171F8857A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22" creationId="{485EDF8D-75A1-B923-BEF1-D637BF091E2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23" creationId="{4422D9FB-59CE-0BB5-AFEF-8DC5B814AA6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24" creationId="{F9A60DF1-CAFC-F063-1A13-9B45972D00D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25" creationId="{E4710609-691D-3285-7F0B-C811510A130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26" creationId="{FFA32E0E-858B-A89B-7D8A-0E6EE6DEB10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27" creationId="{582AF448-FE79-973F-CF99-3C30F3BBB75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28" creationId="{86479D42-46A3-D131-202B-7AB7041B1B6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29" creationId="{C344F516-724E-9E66-2932-82BED7427C4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30" creationId="{49975FC5-4B87-73B9-0BEA-28B5EF3CC00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31" creationId="{8F2F99B1-4151-5077-329F-9AF2976BC00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32" creationId="{E695BD5F-E91D-B747-2E29-82584913218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33" creationId="{4AA2E4EC-6B11-7B31-27B6-7A6BF754217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34" creationId="{3FA89A7E-84A3-EF67-D4AB-BCBE8AFD6FB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35" creationId="{FA1F86A3-A1FE-6D6F-DC67-6F72494F543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36" creationId="{2348C4CC-821A-E7FB-6DBB-D996E8F03CC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37" creationId="{D97A5158-80BE-2134-C1FF-15230E76071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38" creationId="{D3EDAB62-B971-645B-2D63-EC969F054CF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39" creationId="{6867A281-6E76-AB5A-D52D-112A44A908C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40" creationId="{15C30B82-D57D-DE87-184A-3EE0376AE5B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41" creationId="{8DC30AC6-CAF7-1FB6-ABF1-8306B38160E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42" creationId="{454C4D52-A350-1598-0DCE-89850AB3DC7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43" creationId="{A56E89F7-87A6-9AE5-D37E-C30FA7F33CF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44" creationId="{997174D9-5759-B94A-15C1-BBF921423C4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45" creationId="{AEDF2001-64C7-3C5E-0657-B2681A9FB23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46" creationId="{C8577A3F-91C5-F8EF-7027-C0FAE4C15D9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47" creationId="{C25A169C-C769-70E4-9AEE-3B753DF99D1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48" creationId="{09F2EF3D-CBF1-D489-4CEE-122FAA6F848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49" creationId="{E0E7CE45-7FAD-F155-66E5-565CCBFFCA7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50" creationId="{3AC611F3-FC85-978B-7189-AB25F5A8425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51" creationId="{E749D7B5-1F7C-C830-9205-C258E32E9FD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52" creationId="{9FAF04DC-66E2-32A7-AE87-CAF1B802AD1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53" creationId="{7381CF8B-2B10-1E86-861E-7BCD1AC1FE7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54" creationId="{5E8337EE-5690-E91B-6BDF-83C77FC6A53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55" creationId="{15C20BC3-F49E-C645-4318-DC8658A604A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56" creationId="{ED39B353-BDF4-8818-D499-B42D53E3BB7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57" creationId="{AF01617A-0796-3D63-F006-1D8351DE28F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58" creationId="{E40A4126-49C3-10A5-A459-87D35ACFD06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59" creationId="{DCB3E3BD-A358-1E23-1458-F9A8AC40C58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60" creationId="{61D631E4-0C1B-6F4C-C646-9ED888682CE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61" creationId="{77D6A0D9-A618-EA31-6C61-67FF1522538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62" creationId="{D620DB59-0156-BBF9-878A-AB61A86C0D4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63" creationId="{07225191-8C4C-30A8-0F20-CA35044068C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64" creationId="{4C684FD4-050D-4081-0561-FD2EB2019CA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65" creationId="{E90CF088-571B-47D8-15FD-DB0BC7B8877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66" creationId="{A58BF8D5-809C-D918-F76B-36A2155A72D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67" creationId="{8603FF7A-70EF-CD1F-0721-85A0884DE73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68" creationId="{ABE2C45B-B6B4-C0AE-245D-2EE579EA31F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69" creationId="{FA01D145-BD2C-281C-4FF8-4F5120118CC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70" creationId="{BAE1AA57-7DB9-584D-D3C7-18F3352E4C8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71" creationId="{FA4676E9-B724-EB85-653E-D14DE042EED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72" creationId="{DE47AE2A-8451-B1A0-3CC9-85D83DD7AC8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73" creationId="{77E876EE-1A4F-62B7-1044-D78FE38873C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74" creationId="{B4038AE0-AA76-2DD9-1D7D-361317FEB9A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75" creationId="{079B3C32-1BB0-BF9F-4F2A-05DB31AD41C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76" creationId="{ADF06187-2876-F581-CEDD-EA6C0CA08F6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77" creationId="{A6C358F2-5B14-79B2-E412-5F509772C00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78" creationId="{287571F1-5E2D-3BB4-9090-DE031267488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79" creationId="{EF5F67E5-CF24-CFAD-C861-E5D204CE78C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80" creationId="{DCC5BE83-F1CD-3788-CF43-0054E082B81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81" creationId="{339F0C58-2BF7-7D51-1530-E69A9DC3866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82" creationId="{6D400A56-0B00-8536-0448-0F2C6FD579F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83" creationId="{D86192B3-B8AE-F65E-0E02-8CE28B25A0E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84" creationId="{637D3739-B512-A1C7-F5DF-0DA8188377B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85" creationId="{503B4433-F169-33E6-52E3-607C3FF3C05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86" creationId="{8D50E9B0-54BD-D189-0CB5-BB30E1294C1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87" creationId="{3436F631-7EC4-1509-9DE7-87014FC5D16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88" creationId="{77C1BB52-A1D8-5937-5350-285AFF830D4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89" creationId="{863E185B-A1AD-61DC-A9FF-4C92AF3B1E8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90" creationId="{D6401284-87A8-FD45-A6D9-F77BA6D4F05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91" creationId="{34D90399-D663-77CA-A055-5DDE5A3DA30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92" creationId="{5CEE6335-94F9-8ACC-82CD-2CD98FBB2D5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93" creationId="{E11EFE46-EF89-EB3F-BFB8-E2E9ED1BD30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94" creationId="{0E9453FE-4E7F-03E5-EF95-FD0235357ED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95" creationId="{10567F88-4E44-109B-EE0B-F15C4BE9404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96" creationId="{2686A9D0-FAD5-165E-8BD1-0F3663B30FB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97" creationId="{8A5033E2-A240-4A3B-F2C1-BCDC8F4E854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98" creationId="{F5E2D1B9-8AF8-B257-D4CF-7366069A65B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899" creationId="{38C3305A-2412-82DF-E450-3E606A797DF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00" creationId="{8B0DEA2F-8C75-F17D-5EC0-516DF773528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01" creationId="{204CA537-9748-E22B-651D-26516064AAF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02" creationId="{E2D814BD-39AF-6885-D5E5-525B6BC7478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03" creationId="{70FDC45C-28DB-3F00-1515-172A9641315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04" creationId="{2287EEA1-05B3-69D0-BEA1-82C4AB2AFC0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05" creationId="{33D7BA85-6C99-D348-333D-B5CBEA21147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06" creationId="{A004BD10-9AAA-3EC6-E56C-1359A351BA3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07" creationId="{E260479E-8B4E-89D5-ADD7-0A6BA9221A2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08" creationId="{F85F0333-FBDC-1459-8506-F8F9316AF8C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09" creationId="{C7E0E882-B3FC-9E9F-AC19-11A9B9C3874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10" creationId="{394E54E9-A01A-B238-30E7-836218FB291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11" creationId="{5EEBFD4D-1132-7C71-DA00-9F3BB97177A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12" creationId="{E6714D4B-06BD-EF64-41BC-8C358D89ED8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13" creationId="{0533B848-3CF6-476B-A97D-FABCC442A3A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14" creationId="{94B4325D-306E-5B69-E0A2-01D1E1871F4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15" creationId="{038D579A-BDC5-2EB6-3D9B-793498C0983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16" creationId="{4D96F004-E1E7-E54C-46D9-249AA84F434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17" creationId="{E4FD6820-71BC-D416-C34C-AD39D2F98F1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18" creationId="{8619E2CF-B652-5035-EF1E-C5AC42A3FEE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19" creationId="{AFDF6ACB-3935-94C9-258C-6378B18E3FB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20" creationId="{759B3A81-BCB1-22F8-8C31-A4AD47926EC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21" creationId="{A42478C9-ACC3-2560-75EC-6EF96686D87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22" creationId="{29C17EEA-C396-DDFF-B262-A6271DF1DD4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23" creationId="{ADCCDEFC-FD53-A605-3FBE-3686AACB56D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24" creationId="{2FBAFC26-AA19-BA1B-139D-77EDFFD4AAE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25" creationId="{7B99AE12-48D9-D25D-73E2-A5EECB4129D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26" creationId="{59CAB65A-8812-E135-BE5D-C201DE01E4E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27" creationId="{256EBB9B-C683-E375-ED41-A58B1CF91BF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28" creationId="{ACF2B012-E148-00B8-9E75-6C5EB60C58E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29" creationId="{FBE98DEB-A0A7-0980-23DD-62651AA6B75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30" creationId="{F0E800D4-BB52-04FC-2BC5-80F4A411FCA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31" creationId="{83530BE2-9644-40A3-5541-132B6EB0CAF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32" creationId="{C5A0F01B-0535-358B-B5CA-DBF0C66BC23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33" creationId="{A93F8792-D546-E286-4BE9-CA638D6D1E8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34" creationId="{65825D6B-9873-B6AA-AFEC-CFA9B8E36FD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35" creationId="{F6873A38-F145-A497-5428-2B1A3D8D48C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36" creationId="{2261B7F2-0757-CBDC-33F7-C74C4A4F595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37" creationId="{2A98F325-DEC7-D920-BD85-D8823402DD6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38" creationId="{B9C0A1D8-BFA9-16A1-3042-A345A8EAE0D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39" creationId="{71DC63C1-5A10-8BFB-0D75-545E2B29A21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40" creationId="{0536EEDA-9E73-3FEA-4E10-5C426CC1ED6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41" creationId="{E9693C09-8207-7DD0-22C5-F00FEB91CBC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42" creationId="{F5119E5E-F842-AE99-D84D-49AE5B8568C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43" creationId="{225DBF45-1432-3F03-1922-2C55824E8DE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44" creationId="{7BEE4251-E0D0-9439-6F00-88C1F28CCA1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45" creationId="{9F481BBC-6469-DA54-DAA8-B10AAEF39F3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46" creationId="{04654295-3310-B123-773A-850D980D3EB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47" creationId="{744C27A1-F8C7-668D-D4B0-4A3DBC5FBBE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48" creationId="{CE634090-29FA-ED4B-6683-9E638ADDAAD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49" creationId="{13F63FAF-706B-07D9-661D-B3C871C2899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50" creationId="{B6E27AAC-9A02-4175-27A2-465E99A5106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51" creationId="{269CCF7A-4406-FCDC-6509-13FE36D42ED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52" creationId="{9F14D5C0-01CC-E62F-5773-C8C8451E707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53" creationId="{44B5034B-2D26-7661-42A9-154116EC143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54" creationId="{E4387A8A-140F-60C1-2A1F-B847BB7E490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55" creationId="{62FC383D-FB79-4C4F-9ABA-1F9FC0D4E85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56" creationId="{659A6EBB-0119-B48D-FEF4-22BE16CC91E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57" creationId="{F6829D3B-E4D7-E910-6626-40C4C0F59A4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58" creationId="{C8C69F7B-1875-DE71-6055-78E3CA7B1BD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59" creationId="{955DB6A7-31A0-B739-143E-284FDF90C77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60" creationId="{DCC7B6A1-7C8A-69DE-6090-E4551FD4DF1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61" creationId="{97CA7784-0E18-C631-8BDE-3B4D66185C8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62" creationId="{C986FF11-E818-6C64-09E8-03288F2A000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63" creationId="{BFA74315-409C-1ADD-5314-7CB749A347D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64" creationId="{1950DC5C-B013-2C2F-7CE3-AF40BB02C42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65" creationId="{94A5571F-FB88-A91D-3C69-F8EF6823612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66" creationId="{21925573-D9B2-1775-11D5-BFE664DF071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67" creationId="{5E65E48D-3D6D-5C17-4E25-3C9B5F442D3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68" creationId="{DC2441A3-6DC3-9C47-BD93-98EC610F9BB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69" creationId="{D1255816-A106-3C2A-9FC9-65E03926BAD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70" creationId="{1EC65332-7C2C-478C-458B-8E39F2092CB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71" creationId="{540F51F2-FE72-822E-D533-00A93C6BA4A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72" creationId="{7B8BBEAA-0674-C1B7-47A0-23D13E6CCBC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73" creationId="{E0E0E5E5-E39D-0965-FE38-61E023DEE22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74" creationId="{4B9BBEC7-89CB-B14D-9D66-542CD374312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75" creationId="{75BE68F9-1998-9A7D-FAF0-D8380C1B666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76" creationId="{ABAC42BD-273A-FA2A-A64A-07AEBAD3DDE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77" creationId="{392844DA-15D6-34B2-DD00-35495672406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78" creationId="{32767107-72C1-8F60-8B31-34578DFD9DD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79" creationId="{4F76C660-F413-D74C-8286-AA34FCAEAEA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80" creationId="{1B182234-D57C-3100-53AB-3406974AB5C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81" creationId="{BC2F0FFC-58D2-C4F2-328B-66AA7DA7325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82" creationId="{7E13AA6D-8358-E629-86C1-611D775B97B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83" creationId="{E06A7950-E110-BA69-E5B0-145E939134A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84" creationId="{3F43F8B4-D84A-4826-D5F7-CE08F1A4CD4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85" creationId="{1063B02A-CB34-E8A5-CF00-479F9DABBD0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86" creationId="{7CD7BE77-2A49-E656-C4FA-01486C14F7C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87" creationId="{A8860E4D-F404-7F91-B8D1-345E7A0B0E0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88" creationId="{6C684CD5-443F-7172-04B2-8BF0FA77540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89" creationId="{7369B02D-F687-3E95-DF89-451E9FBC6B9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90" creationId="{1C32B71B-5D19-B0EF-0C09-5DE4538BC5D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91" creationId="{F05AA0BE-B167-BD1C-FD08-8AA9E95DBE6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92" creationId="{397C71E0-9299-576A-4AA4-B06AF931F25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93" creationId="{FD086263-958C-E525-7E13-FB4FFA74A2E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94" creationId="{C364AE26-433A-045D-CC64-80AB5FAA976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95" creationId="{70109BD3-A1BC-4020-423A-E2266786AA2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96" creationId="{4455922D-D9BD-0478-5501-8199C853B3C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97" creationId="{43F58F37-DEFD-5CE0-5881-744FA78C4C7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98" creationId="{83E742D3-41E1-4DAE-00D6-3BE091351EE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2999" creationId="{FC4245DD-7D1C-48BA-C7F0-35073803E24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00" creationId="{B9BF8571-1508-5A6D-8B1A-9D3407006C1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01" creationId="{A72B8062-9697-ED18-6E3D-FF42B929B5B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02" creationId="{42AF83DB-5E27-0A24-296B-080DF8F7463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03" creationId="{055B43EB-E8A7-08CC-5CB4-25571A87C99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04" creationId="{168F755E-6B49-D323-9A65-DCFDAC0890D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05" creationId="{DF977E84-6B88-2E4B-83C8-A2AC576339F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06" creationId="{580253AC-9246-4B58-DEA9-BAC8AAD6CAD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07" creationId="{9C49746B-1558-9166-2786-ED16C040FDD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08" creationId="{E8933E26-1D9A-664B-49C0-A4D4E55397D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09" creationId="{5F79E92B-ABBF-DA90-E1CB-3308945B49A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10" creationId="{B8D05C16-E99A-9C31-F66C-29AD6F6C059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11" creationId="{FB8EE647-387F-ED43-F134-215E141376E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12" creationId="{E34ADB1D-BE57-900E-D70A-38D9DFC630B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13" creationId="{1BF1EE5A-DCDD-5A34-A9E2-E20BE88B1F0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14" creationId="{0525797A-5DD3-9A4C-442B-89571CC0370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15" creationId="{F10B0766-4B27-09CD-0562-D7B86727167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16" creationId="{FEAC3879-BC8C-1D66-70F3-6EB6185362C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17" creationId="{E9A413D9-AF3A-C004-40AE-90FFC2DD7E8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18" creationId="{BAD61C38-301E-DA8E-305F-9F593616928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19" creationId="{E7DF62F8-BED9-1938-71C1-0C491C03137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20" creationId="{5F89C05C-7C75-FCFD-79DF-105ACA1876C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21" creationId="{6D131C9A-F2E6-3CF2-119F-F6ADAB16FC6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22" creationId="{78E0F9DA-ED68-87A7-8B75-0B837EEA6F3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23" creationId="{979293FC-7AB0-9FF5-9669-CAA0CD2B467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24" creationId="{1DF4A5CD-1FFF-AD6A-8B6D-A5738819E51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25" creationId="{C0CF8C54-52D9-CECA-B050-7C9795F2EA1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26" creationId="{5E4C30F6-F702-F5A4-F153-8C45515F193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27" creationId="{5032672F-A171-B552-26FB-28394D979CA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28" creationId="{71513C72-3219-4137-1987-E9784CD92EA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29" creationId="{2F84D84F-C8BD-61A6-E849-19C61A5C8A1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30" creationId="{0FD5796C-FC82-8019-E6E2-4661E75EFAA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31" creationId="{59C132E1-F0C6-3EC3-BB4A-AF3D1DF6D20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32" creationId="{DEE4D8CA-33D3-337B-F87D-80EF0CCA977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33" creationId="{387326C7-B6EF-3F32-0241-73A8927349F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34" creationId="{46122407-EBC7-8DD9-8651-B8CDCCC33DB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35" creationId="{A0D048A1-E67A-6A4F-2864-3CFE297E62B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36" creationId="{33E12CEC-E5E3-CE0D-694A-BE1459247C4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37" creationId="{5D3C5B66-A460-718E-7EB0-8F0F8B8AC73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38" creationId="{ECAC4C8C-26AB-4530-D6D3-D178C072C0C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39" creationId="{50914DE6-5B66-E32E-C3CE-1BE1E03CEB0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40" creationId="{A50B98E8-594D-630F-CB6F-2BCB0B053E8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41" creationId="{C0F2EA56-3901-6AC7-B1FA-4BFE6EE6D2E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42" creationId="{04B0087D-5561-88E8-7E3E-BBC99408DF8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43" creationId="{C03A49AC-2555-7EE1-257A-D1F1D89BDDB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44" creationId="{3CD27803-9EF7-D8DE-6EF8-1B4FDCDF85A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45" creationId="{6886EBDF-EDE2-043C-C6AF-D76276DE44A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46" creationId="{BD14A1DF-0884-39E4-74BA-F8507080899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47" creationId="{6E9B87DE-54C2-3764-23CF-6C369600717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48" creationId="{F620948B-4038-5259-4CA3-1B1A7E4525E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49" creationId="{14BB02F3-3BFA-F672-B474-7063537DE4F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50" creationId="{FF13ACA7-CDA8-F7F4-9EDE-FBE7CE4335A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51" creationId="{3D8610E9-A25D-2D14-46DF-D27385B67DC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52" creationId="{72223784-1F73-54B0-C6A2-E6DE5240556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53" creationId="{C1D4E75F-3366-B416-6846-E14EE815FA4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54" creationId="{8ABEAC7F-0155-5367-B954-7B492D10C39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55" creationId="{E0486F3B-F3B5-455C-70F6-A136CE8BE3C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56" creationId="{C691E203-B88E-470A-9904-11AF566E599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57" creationId="{1D07B062-731E-D1FA-1372-9EB755EFB33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58" creationId="{DBE1FDFD-9FC2-EE48-DBD4-4F0CF9ABB22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59" creationId="{BBF30DEC-AF5F-3E3B-15F7-909C2AB1A8A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60" creationId="{13763030-EAFF-C8D7-E2F0-61F329438B5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61" creationId="{18E7CC4D-A220-F351-BAA8-F00483B1AB6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62" creationId="{756F279B-FB3F-D1AC-F837-C6049B7BD6D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63" creationId="{DE560D51-72BB-9AC4-612F-E2FEE34F22B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64" creationId="{9C759404-6455-F2C1-1F51-E28E58CB38E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65" creationId="{854D7DE2-271B-AC29-F23F-5EEE4F1072E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66" creationId="{624FD8C6-DC69-4FBE-4D07-4B69F7D7B92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67" creationId="{75143055-7B12-18B6-CC48-ACB8F6B888E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68" creationId="{61574921-45EC-18D7-A15C-355FFC0DA32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69" creationId="{4A8CF6D0-69D0-04EC-FA8D-B3849910F5F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70" creationId="{FD73F7EE-24C6-4A33-A753-E9F635339D1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71" creationId="{60ABE52B-F753-A0E6-BEAC-3BC7150D787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72" creationId="{F45108EF-4F6D-279A-59B9-FFDC5C9BDFF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73" creationId="{53F5E5D2-7856-7D9E-A898-7F65DD274DD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74" creationId="{0E0D3429-B3EC-97F6-B97B-2704C898E39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75" creationId="{7585F439-8CE9-C715-2783-74FC009CD6A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76" creationId="{38CF014A-26E6-354F-8437-F61C7A33C34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77" creationId="{FF84DB84-3924-A728-EE58-AE39DAC738D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78" creationId="{AC02F2AF-F53E-917C-B6E6-6199C8947C4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79" creationId="{0E8C7F0C-1890-F76E-6287-8714339D90A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80" creationId="{81D70BB7-1D66-F0C8-DEA1-54C77000799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81" creationId="{EF87E176-6540-6816-7F63-AA7DBC592A3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82" creationId="{AE671DF2-9315-866B-27FE-BA3D614C90B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83" creationId="{9C5DAACB-CA00-FDF1-6028-07DB1F22236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84" creationId="{E53F09A9-7FF7-8040-3751-EFB81643ED4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85" creationId="{B3D69852-E32D-D2A8-054D-CBC04F4C5A0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86" creationId="{04581941-ACA4-A7C9-0407-950A9A30F3C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87" creationId="{4B7A8F35-D7ED-19EB-34B2-88E94ABD3CF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88" creationId="{D22CC138-9579-1A67-7765-CD67A2C7A83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89" creationId="{726A8F21-9792-D523-F669-6A3C568003B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90" creationId="{5AC79F70-895A-05CE-70AE-E80D823C567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91" creationId="{1BD80144-89DF-4DE0-B0C9-77C21D308BE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92" creationId="{A24C406F-9754-127D-8939-A3C8547E311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93" creationId="{CBEAD30F-C3A0-2B24-BE76-D4AAA101739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94" creationId="{3DA9AFBB-BED4-E816-B1D3-9593E6A96C3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95" creationId="{F61A0E0A-EEC3-FB8D-4243-EF8ADFF98C1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96" creationId="{2B913D14-24D6-18A0-7522-26FD9FB779E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97" creationId="{21193EE6-37ED-5211-DA2B-855FC164EF8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98" creationId="{573602A4-411A-E7F4-3EB7-CCE1D27032F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099" creationId="{728167C7-0214-BB5D-DA2D-BC87A91EDF4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00" creationId="{0DF946C7-11FB-AD31-ADAD-6A1528B3ED4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01" creationId="{6D004FF0-B92C-205E-94DD-128B0CAF7E3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02" creationId="{4DD7F83E-B47F-5E9A-3A70-3285DA2FC93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03" creationId="{3AD4DA18-9B9C-9070-B26C-97D484D253B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04" creationId="{F8CB9205-336E-83C9-CFA0-2D3DBAA44A6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05" creationId="{9D01C900-7B7D-BB9D-27A0-6789BA17547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06" creationId="{85D900FB-2B17-0FEC-F41B-1B82DF54CAF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07" creationId="{371F921E-245A-A5F3-3481-BD1DDB590F0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08" creationId="{BFFD5860-A95B-815E-CEFC-823B9820F86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09" creationId="{0373E21B-5655-846C-B820-C1E5EF209B7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10" creationId="{82F075CC-5D10-C2BA-CA3E-A08E2F43A7D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11" creationId="{1A9998E7-5A08-ED3C-8E5C-D12AA5618E3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12" creationId="{EEB80B93-331F-FAA4-8887-C1288F74B21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13" creationId="{A64D5223-7AFA-3B2A-B075-02CC1BD1630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14" creationId="{E44F732D-EE6A-C8B1-E5F6-4DE632C262B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15" creationId="{E1F28C28-48D2-9199-689B-DA7A1434DC5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16" creationId="{844F7A34-3BB6-457F-64AD-6C09313BF08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17" creationId="{40B84235-58F3-1A0E-767F-466033787FD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18" creationId="{F2F6BB11-EBCF-211B-59F5-CC50BC8636B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19" creationId="{7F71D7F6-7439-14CA-538A-D845FA7CAF7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20" creationId="{A2A6D5E4-D5D8-150B-CD81-5020D99FEF9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21" creationId="{3798AA1C-1451-9BDE-3A39-4C2AB549D29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22" creationId="{E187D11E-B4E5-1D28-AD73-BE3B40CAC67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23" creationId="{26CF4B31-AC4B-F674-F6A1-6FD37277A0F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24" creationId="{3C084939-AAB7-27F5-3BD6-31AEBE251D5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25" creationId="{4CA4A92A-A574-AB7D-A202-871144F3F05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26" creationId="{C4A2FC00-1FFC-9DD8-95A2-454F9818E3B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27" creationId="{91F783F7-DE78-464F-D0B0-FF9988E306A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28" creationId="{103E78F1-6138-B7C1-0D30-36A70F1CE3B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29" creationId="{F6C33D04-2CEC-12AA-C155-E8D780A2AA4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30" creationId="{7B77E2A1-B70C-ABBA-A2CD-20EDA0677E2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31" creationId="{A3ABD840-E693-17C3-AA6D-C2AAE246281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32" creationId="{398FA765-149A-5CE2-A861-6E3097F1E5E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33" creationId="{E8110D75-38A3-CA6C-07DC-5E2BFABAD54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34" creationId="{6E116D2A-25D4-8CAB-83FA-C9D0C01F3A9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35" creationId="{7263D83D-5F4B-1593-171D-89B58683893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36" creationId="{D8E8E63A-1797-5580-FF58-0DFDC26ECB5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37" creationId="{428C3DC7-87C3-AE3A-7461-535D66664DF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38" creationId="{EF3C9A69-5224-B59B-8ADE-C66F78831C5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39" creationId="{8EB614B2-19A5-7569-417D-C5DCE19E7C2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40" creationId="{65C3A01B-86B4-1960-F8E5-AF7D7DAA0C1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41" creationId="{7AC6B513-B527-8030-E823-81CAFE99F4A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42" creationId="{B07C4D1D-E3DB-611A-D48B-7F10667FA03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43" creationId="{B43D09E9-68FD-8385-DD29-9616F7CA42F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44" creationId="{DF5573FA-AF1F-B6EA-56C4-9CBE111F02E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45" creationId="{94C4C029-7498-44B9-9FD1-2FD5C7FBE5E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46" creationId="{1EAB7943-6D76-6DB2-C32D-93E8995D469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47" creationId="{0B338A54-2751-7601-7D40-08F1CC0AB16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48" creationId="{67FB16F6-AA97-08C8-2E80-6584FA80222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49" creationId="{4B5EEA5A-6E7B-965E-F0FD-D778DBEB921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50" creationId="{D787CFE6-843B-C13B-9F5A-53D164166E4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51" creationId="{9BA42589-5148-C676-9388-51E61BD2725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52" creationId="{E0127844-5BD8-215B-DCAA-20F46E61C41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53" creationId="{8E072253-D1D5-2273-FD26-226EB96AA8E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54" creationId="{D6784BFA-377F-8CC4-2E37-BF7B1AC7E09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55" creationId="{08166A19-F3DA-A69B-1817-E8ACE2DB4B1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56" creationId="{67E040EB-917E-1128-A3ED-20D1FDE7F0D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57" creationId="{A46A30E8-4082-5728-1A53-4792AAEFD08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58" creationId="{2E6A3F18-FAC3-19C6-B077-992CAB04D15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59" creationId="{D9C93979-0E73-867D-501C-AA6362263E1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60" creationId="{7843556B-CBD1-BE27-CCA8-2FE60B8197A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61" creationId="{997F392C-C506-8266-C9AD-E5989262617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62" creationId="{58DE9F51-3099-5F91-615F-11DAD7CBF5B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63" creationId="{C45C9B64-1134-6BA8-8B3E-CD1CBFF55FD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64" creationId="{981AEE9E-63D2-5325-D4DB-28D7C2EDDE4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65" creationId="{D9604627-7580-994F-A45F-9DC23C8DF61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66" creationId="{86AC3D16-2C14-6684-62F8-7EF98A657F3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67" creationId="{BA556DE8-1F7C-FCB6-2D7A-33529B7F41E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68" creationId="{FEE465D3-B3BB-6C22-1C56-783D32CB21F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69" creationId="{3CB6C5F7-0865-8F97-38D9-027BC5C47B7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70" creationId="{B616E16F-9AA5-91D4-A378-D5E084B8F9E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71" creationId="{2393CBEF-95B6-459F-57B8-C3463595A03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72" creationId="{2418C672-FAEF-1792-0E1F-1B2B69947E6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73" creationId="{D1FE5C6E-248F-9CA3-00AE-4D4677CF68A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74" creationId="{C4A153BF-01DC-1846-CE11-BC0488680E2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75" creationId="{3556D393-9E9D-5BAF-7336-547E6A60EF6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76" creationId="{E4B2A1F3-AFCA-4925-0578-2C4EBCA8920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77" creationId="{B7370E6E-2A98-B091-76B1-6C6C06E5386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78" creationId="{F752B682-E3BA-E46B-1593-69BDFDCA052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79" creationId="{4FF9E921-369E-1AE2-38C9-B34104719B2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80" creationId="{DD949A90-C09A-9B23-2182-F0A778FA159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81" creationId="{BB2E3A35-A894-509B-4E4B-5188F737095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82" creationId="{A8FB4348-A909-4AD9-6AC3-6D3D4400E20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83" creationId="{DCFF00B1-D5C0-AA63-1433-90F14A095F2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84" creationId="{563626F5-7C63-86EA-587F-180F5C59A74A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85" creationId="{2BC317D2-6488-8ABB-395D-4950850DEC3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86" creationId="{CB13E48D-64E8-9EDE-F907-8133CE0EE5C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87" creationId="{50712628-EA7C-8EFB-D169-2CF7E20362B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88" creationId="{14E6CE5B-842F-A5CB-781B-5D16E69D5C5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89" creationId="{B44B002E-4375-6AB2-8C8C-895CB5D07A4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90" creationId="{64ECCC91-137A-7A9A-FAB4-A23B6336F2E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91" creationId="{48A1F911-16E3-77B2-7247-689323C1F38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92" creationId="{5349DE24-8643-ADDE-69D0-8DF9558C2131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93" creationId="{28C38966-A780-74EC-6B5A-0E7FF3F62F9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94" creationId="{2CE9A4E4-3A1F-6A12-BC42-D4963BEDCFC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95" creationId="{00CE9E75-C809-5FE4-CAAF-1FFBB91FDD8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96" creationId="{D17D5D6F-3D01-6023-DC5D-4CCE53602AE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97" creationId="{05BA9EDC-045A-1901-5B10-D2EA5D0BAE2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98" creationId="{CE286800-8DA5-D551-26FC-EA437903127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199" creationId="{71F1ADF4-EE3D-51DA-8BDB-EB0BB24AF8AD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00" creationId="{70538F7D-D91E-70ED-37FB-C4BA50EE40F9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01" creationId="{FFFD0961-B9A8-C7F7-1C5E-62200A93C1F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02" creationId="{1D3B1FB4-FEF5-4F7B-8C48-22136BEF770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03" creationId="{597D15BA-9E57-15BF-A5B1-F54C555FB81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04" creationId="{9CE12ED7-104C-7186-6FF3-7DCF3AB7B4A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05" creationId="{BCAACF5D-2522-F2B1-E328-BC3C3446F4E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06" creationId="{575F9D63-412E-9364-3F65-C7259FA3FF4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07" creationId="{FF808692-061E-C2B7-CB2E-21A56A8D91C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08" creationId="{0C8FF1AB-334C-6FFD-751C-7EDD1E5CB96B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09" creationId="{9C99CAB1-5EEE-F276-043D-282CD31BE9D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10" creationId="{412CE3BA-B18C-0B7E-E51B-3F06E848194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11" creationId="{D27F6556-2224-6D16-CBC5-9A045794AAE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12" creationId="{52F143B8-840D-3E1D-FC32-C1390296658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13" creationId="{AC323B71-DD97-5090-B2CB-13558DAD2E5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14" creationId="{1F7C5D22-B854-36AF-518D-B9A70CA7A922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15" creationId="{1D36F2C0-13A2-2322-2955-2BF7DD8A237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16" creationId="{FF75D53D-BC16-26E2-4493-C30CA3883DBF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17" creationId="{E5EF54C9-71B2-A03D-8CD6-5F8DAFFDEDA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18" creationId="{ECD12976-1EE7-778F-E4A8-7F4CBC5DB4E8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19" creationId="{F343CC4D-4511-AB2B-7A2D-37D98D8527A6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20" creationId="{B379A984-AC27-9CB6-3B05-CA6E6C316F20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21" creationId="{3DB3C130-74D6-6799-39B2-DCA3546C246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22" creationId="{16CB73F8-A2BE-6830-1BDD-9C50D41F4EA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23" creationId="{C573A7D6-3AF5-1776-19CE-49753D631B47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24" creationId="{22ABD261-5E20-19E4-55C6-4043657BE383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25" creationId="{04E34DAD-7F52-4B49-942C-11A50C1F7D5C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26" creationId="{4E47BEB1-7389-B93F-02C0-AB3087BF4D25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27" creationId="{8BBD00D1-C11A-DC6D-7A98-E4AC39422C4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28" creationId="{9FDECE31-55B2-6CE1-2C92-A7E4A76B0AA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29" creationId="{EE8B8E8A-B6BC-3E03-69E8-57045A6B0B1E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30" creationId="{96D62917-435F-5B98-D9C0-8C68C92D95F4}"/>
          </ac:spMkLst>
        </pc:spChg>
        <pc:spChg chg="mod">
          <ac:chgData name="Ryterski Finn (HNE US-MI-PB-BO)" userId="efff052d-68b9-4e8d-b65b-45dff653056d" providerId="ADAL" clId="{870BDC5B-2E94-425D-B3D4-696163FAE54F}" dt="2025-04-08T14:07:18.071" v="35297" actId="478"/>
          <ac:spMkLst>
            <pc:docMk/>
            <pc:sldMk cId="1199229873" sldId="4191"/>
            <ac:spMk id="3231" creationId="{F831B4F0-A3B1-12D5-F24E-F93EC4D477CB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35" creationId="{402AB0E0-EB26-5A7C-26F7-4E80C885EBEF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38" creationId="{2D701D28-309D-9AC5-6CBE-999311A5527F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39" creationId="{1EE2D56A-6E73-A5ED-C6E8-E2E540466689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40" creationId="{2C852E36-8EA1-377E-3493-90B6737825DD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41" creationId="{6881997E-BD0B-C099-AB0D-B8B2A4759413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42" creationId="{EB3EB4D3-F405-E77C-DDC2-CA5B74D01F95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43" creationId="{25D20C36-8DCB-0B1A-E277-EAB128BC3BAC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44" creationId="{F0004F22-B8DD-3576-1A52-1D6C5C606984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45" creationId="{534A4B55-049B-5762-3440-0EB70EDF7475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46" creationId="{34914D4C-EC2B-2DE2-A215-54C56829E11E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47" creationId="{54B6B22A-4487-3B53-1C81-C2E6C4433338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50" creationId="{2D15CB7C-1D74-6350-AF15-797032EE57D2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51" creationId="{EF0F75FF-7935-078C-80BC-129421432A34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52" creationId="{63771C86-51B3-9CB5-C345-4D353C503D63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53" creationId="{9DAB76DE-AAE2-3D8B-2D8A-D592D115A3E2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60" creationId="{98F79D3A-C8E0-F279-2A85-B5E284212923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61" creationId="{902F6F97-C9DD-F389-8885-306E464DDE37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62" creationId="{0A6DAD0E-C68D-1143-0D48-14EBE3B5A529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63" creationId="{3121C923-7544-D2E7-DE26-66995DA69335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64" creationId="{F9C977E6-A95B-4AAE-59AD-98E626CA729C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65" creationId="{0A64DF24-9AB1-CFE7-55DB-E277A87E3F7D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66" creationId="{B8B91A69-7AAC-F45D-DED8-82815CD17DE2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67" creationId="{2F50482A-D98E-8852-DA88-33002582FCFF}"/>
          </ac:spMkLst>
        </pc:spChg>
        <pc:spChg chg="del mod">
          <ac:chgData name="Ryterski Finn (HNE US-MI-PB-BO)" userId="efff052d-68b9-4e8d-b65b-45dff653056d" providerId="ADAL" clId="{870BDC5B-2E94-425D-B3D4-696163FAE54F}" dt="2025-04-08T14:07:52.139" v="35311" actId="478"/>
          <ac:spMkLst>
            <pc:docMk/>
            <pc:sldMk cId="1199229873" sldId="4191"/>
            <ac:spMk id="3268" creationId="{72280310-C441-DFF9-89D6-F8FC60225DCA}"/>
          </ac:spMkLst>
        </pc:spChg>
        <pc:spChg chg="del mod">
          <ac:chgData name="Ryterski Finn (HNE US-MI-PB-BO)" userId="efff052d-68b9-4e8d-b65b-45dff653056d" providerId="ADAL" clId="{870BDC5B-2E94-425D-B3D4-696163FAE54F}" dt="2025-04-08T14:07:51.489" v="35310" actId="478"/>
          <ac:spMkLst>
            <pc:docMk/>
            <pc:sldMk cId="1199229873" sldId="4191"/>
            <ac:spMk id="3269" creationId="{AEC51C7B-1DFA-2409-DC5C-7C69CDE0D38C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70" creationId="{425C7E9B-DDF1-ECC8-01A9-BC4A11264FD0}"/>
          </ac:spMkLst>
        </pc:spChg>
        <pc:spChg chg="del 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71" creationId="{690BA3C7-8AE2-711D-8950-5AAC3BD16A3D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72" creationId="{886536F1-DCD5-BF52-64F4-0892003D10EE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73" creationId="{1AEDE911-C34B-36DF-FA27-F88A9B90204B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74" creationId="{C7065AF9-1401-9C0E-20F2-787174F9E665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75" creationId="{0187CDCD-4B72-056C-8AC0-EAAC139AECF1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76" creationId="{D5B0A08A-BD12-F100-EBC8-79A6DDAC47E6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77" creationId="{56968152-9166-DF20-3B50-17A95AF35A47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78" creationId="{01427EE6-9829-AF42-8048-9197BE10F964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79" creationId="{AEBAD440-59FE-2192-4E7F-C6F24D848A84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80" creationId="{1E178DF4-9376-6E66-063E-E919B0602B8D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81" creationId="{20BBC88C-1AE9-0B4F-5DC5-2A4BE8BB0144}"/>
          </ac:spMkLst>
        </pc:spChg>
        <pc:spChg chg="mod">
          <ac:chgData name="Ryterski Finn (HNE US-MI-PB-BO)" userId="efff052d-68b9-4e8d-b65b-45dff653056d" providerId="ADAL" clId="{870BDC5B-2E94-425D-B3D4-696163FAE54F}" dt="2025-04-08T14:07:52.577" v="35312" actId="478"/>
          <ac:spMkLst>
            <pc:docMk/>
            <pc:sldMk cId="1199229873" sldId="4191"/>
            <ac:spMk id="3282" creationId="{FAAA9F1E-4ECF-C13C-26C8-259873A2A75D}"/>
          </ac:spMkLst>
        </pc:spChg>
        <pc:spChg chg="add del mod modVis">
          <ac:chgData name="Ryterski Finn (HNE US-MI-PB-BO)" userId="efff052d-68b9-4e8d-b65b-45dff653056d" providerId="ADAL" clId="{870BDC5B-2E94-425D-B3D4-696163FAE54F}" dt="2025-04-08T14:10:28.711" v="35385"/>
          <ac:spMkLst>
            <pc:docMk/>
            <pc:sldMk cId="1199229873" sldId="4191"/>
            <ac:spMk id="3289" creationId="{71D592A1-99AA-13BB-69B3-50E166B115A7}"/>
          </ac:spMkLst>
        </pc:spChg>
        <pc:grpChg chg="add del mod">
          <ac:chgData name="Ryterski Finn (HNE US-MI-PB-BO)" userId="efff052d-68b9-4e8d-b65b-45dff653056d" providerId="ADAL" clId="{870BDC5B-2E94-425D-B3D4-696163FAE54F}" dt="2025-04-08T14:07:22.321" v="35298" actId="478"/>
          <ac:grpSpMkLst>
            <pc:docMk/>
            <pc:sldMk cId="1199229873" sldId="4191"/>
            <ac:grpSpMk id="6" creationId="{48AA2159-4510-F7FF-E53E-B254F1125B45}"/>
          </ac:grpSpMkLst>
        </pc:grpChg>
        <pc:grpChg chg="add mod">
          <ac:chgData name="Ryterski Finn (HNE US-MI-PB-BO)" userId="efff052d-68b9-4e8d-b65b-45dff653056d" providerId="ADAL" clId="{870BDC5B-2E94-425D-B3D4-696163FAE54F}" dt="2025-04-08T14:10:28.707" v="35379"/>
          <ac:grpSpMkLst>
            <pc:docMk/>
            <pc:sldMk cId="1199229873" sldId="4191"/>
            <ac:grpSpMk id="3234" creationId="{02AC9485-3E60-7D13-0628-212EA00EF7F9}"/>
          </ac:grpSpMkLst>
        </pc:grpChg>
        <pc:grpChg chg="mod">
          <ac:chgData name="Ryterski Finn (HNE US-MI-PB-BO)" userId="efff052d-68b9-4e8d-b65b-45dff653056d" providerId="ADAL" clId="{870BDC5B-2E94-425D-B3D4-696163FAE54F}" dt="2025-04-08T14:07:52.577" v="35312" actId="478"/>
          <ac:grpSpMkLst>
            <pc:docMk/>
            <pc:sldMk cId="1199229873" sldId="4191"/>
            <ac:grpSpMk id="3236" creationId="{5A0346AC-2548-0DF2-9599-1314CA8D3E62}"/>
          </ac:grpSpMkLst>
        </pc:grpChg>
        <pc:grpChg chg="mod">
          <ac:chgData name="Ryterski Finn (HNE US-MI-PB-BO)" userId="efff052d-68b9-4e8d-b65b-45dff653056d" providerId="ADAL" clId="{870BDC5B-2E94-425D-B3D4-696163FAE54F}" dt="2025-04-08T14:07:52.577" v="35312" actId="478"/>
          <ac:grpSpMkLst>
            <pc:docMk/>
            <pc:sldMk cId="1199229873" sldId="4191"/>
            <ac:grpSpMk id="3237" creationId="{58DC0734-668A-9293-6A89-60273316C473}"/>
          </ac:grpSpMkLst>
        </pc:grpChg>
        <pc:grpChg chg="mod">
          <ac:chgData name="Ryterski Finn (HNE US-MI-PB-BO)" userId="efff052d-68b9-4e8d-b65b-45dff653056d" providerId="ADAL" clId="{870BDC5B-2E94-425D-B3D4-696163FAE54F}" dt="2025-04-08T14:07:52.577" v="35312" actId="478"/>
          <ac:grpSpMkLst>
            <pc:docMk/>
            <pc:sldMk cId="1199229873" sldId="4191"/>
            <ac:grpSpMk id="3248" creationId="{4F58DAC6-EE73-97A2-EF99-0685692E1C7B}"/>
          </ac:grpSpMkLst>
        </pc:grpChg>
        <pc:grpChg chg="mod">
          <ac:chgData name="Ryterski Finn (HNE US-MI-PB-BO)" userId="efff052d-68b9-4e8d-b65b-45dff653056d" providerId="ADAL" clId="{870BDC5B-2E94-425D-B3D4-696163FAE54F}" dt="2025-04-08T14:07:52.577" v="35312" actId="478"/>
          <ac:grpSpMkLst>
            <pc:docMk/>
            <pc:sldMk cId="1199229873" sldId="4191"/>
            <ac:grpSpMk id="3249" creationId="{006B34D5-CCCB-83A7-78C7-E24082BB19FF}"/>
          </ac:grpSpMkLst>
        </pc:grpChg>
        <pc:graphicFrameChg chg="add mod ord modVis">
          <ac:chgData name="Ryterski Finn (HNE US-MI-PB-BO)" userId="efff052d-68b9-4e8d-b65b-45dff653056d" providerId="ADAL" clId="{870BDC5B-2E94-425D-B3D4-696163FAE54F}" dt="2025-04-08T14:10:28.712" v="35387"/>
          <ac:graphicFrameMkLst>
            <pc:docMk/>
            <pc:sldMk cId="1199229873" sldId="4191"/>
            <ac:graphicFrameMk id="7" creationId="{5EE5AD18-5721-8C8B-11C0-7314B7AACA0E}"/>
          </ac:graphicFrameMkLst>
        </pc:graphicFrameChg>
        <pc:picChg chg="add del mod">
          <ac:chgData name="Ryterski Finn (HNE US-MI-PB-BO)" userId="efff052d-68b9-4e8d-b65b-45dff653056d" providerId="ADAL" clId="{870BDC5B-2E94-425D-B3D4-696163FAE54F}" dt="2025-04-08T14:06:34.559" v="35288" actId="478"/>
          <ac:picMkLst>
            <pc:docMk/>
            <pc:sldMk cId="1199229873" sldId="4191"/>
            <ac:picMk id="3" creationId="{E28CDB8F-23AC-2F1E-3AB8-0BF07F599CAA}"/>
          </ac:picMkLst>
        </pc:picChg>
        <pc:picChg chg="add del">
          <ac:chgData name="Ryterski Finn (HNE US-MI-PB-BO)" userId="efff052d-68b9-4e8d-b65b-45dff653056d" providerId="ADAL" clId="{870BDC5B-2E94-425D-B3D4-696163FAE54F}" dt="2025-04-07T08:31:34.192" v="25485" actId="478"/>
          <ac:picMkLst>
            <pc:docMk/>
            <pc:sldMk cId="1199229873" sldId="4191"/>
            <ac:picMk id="10" creationId="{A2F000D9-D1AF-9AD4-E519-BBA3666B78F7}"/>
          </ac:picMkLst>
        </pc:picChg>
        <pc:picChg chg="add del mod ord modCrop">
          <ac:chgData name="Ryterski Finn (HNE US-MI-PB-BO)" userId="efff052d-68b9-4e8d-b65b-45dff653056d" providerId="ADAL" clId="{870BDC5B-2E94-425D-B3D4-696163FAE54F}" dt="2025-04-08T14:07:47.047" v="35308" actId="478"/>
          <ac:picMkLst>
            <pc:docMk/>
            <pc:sldMk cId="1199229873" sldId="4191"/>
            <ac:picMk id="12" creationId="{FAAA9E30-CC5D-5C4C-CD99-715D969B8382}"/>
          </ac:picMkLst>
        </pc:picChg>
        <pc:picChg chg="mod">
          <ac:chgData name="Ryterski Finn (HNE US-MI-PB-BO)" userId="efff052d-68b9-4e8d-b65b-45dff653056d" providerId="ADAL" clId="{870BDC5B-2E94-425D-B3D4-696163FAE54F}" dt="2025-04-08T14:07:18.071" v="35297" actId="478"/>
          <ac:picMkLst>
            <pc:docMk/>
            <pc:sldMk cId="1199229873" sldId="4191"/>
            <ac:picMk id="1957" creationId="{6C8EF9C0-1ACD-2E74-D178-AD43499BBB97}"/>
          </ac:picMkLst>
        </pc:picChg>
        <pc:picChg chg="mod">
          <ac:chgData name="Ryterski Finn (HNE US-MI-PB-BO)" userId="efff052d-68b9-4e8d-b65b-45dff653056d" providerId="ADAL" clId="{870BDC5B-2E94-425D-B3D4-696163FAE54F}" dt="2025-04-08T14:07:18.071" v="35297" actId="478"/>
          <ac:picMkLst>
            <pc:docMk/>
            <pc:sldMk cId="1199229873" sldId="4191"/>
            <ac:picMk id="1961" creationId="{1DBF33FC-A886-6B97-F11D-B6AC9F414886}"/>
          </ac:picMkLst>
        </pc:picChg>
        <pc:picChg chg="mod">
          <ac:chgData name="Ryterski Finn (HNE US-MI-PB-BO)" userId="efff052d-68b9-4e8d-b65b-45dff653056d" providerId="ADAL" clId="{870BDC5B-2E94-425D-B3D4-696163FAE54F}" dt="2025-04-08T14:07:18.071" v="35297" actId="478"/>
          <ac:picMkLst>
            <pc:docMk/>
            <pc:sldMk cId="1199229873" sldId="4191"/>
            <ac:picMk id="1967" creationId="{1F0D8281-F0D1-5F92-8DBC-FCDDC7E17EDB}"/>
          </ac:picMkLst>
        </pc:picChg>
        <pc:picChg chg="mod">
          <ac:chgData name="Ryterski Finn (HNE US-MI-PB-BO)" userId="efff052d-68b9-4e8d-b65b-45dff653056d" providerId="ADAL" clId="{870BDC5B-2E94-425D-B3D4-696163FAE54F}" dt="2025-04-08T14:07:18.071" v="35297" actId="478"/>
          <ac:picMkLst>
            <pc:docMk/>
            <pc:sldMk cId="1199229873" sldId="4191"/>
            <ac:picMk id="1970" creationId="{E84E7087-FDAC-F7B5-4353-FD0380E1822D}"/>
          </ac:picMkLst>
        </pc:picChg>
        <pc:picChg chg="mod">
          <ac:chgData name="Ryterski Finn (HNE US-MI-PB-BO)" userId="efff052d-68b9-4e8d-b65b-45dff653056d" providerId="ADAL" clId="{870BDC5B-2E94-425D-B3D4-696163FAE54F}" dt="2025-04-08T14:07:18.071" v="35297" actId="478"/>
          <ac:picMkLst>
            <pc:docMk/>
            <pc:sldMk cId="1199229873" sldId="4191"/>
            <ac:picMk id="1981" creationId="{B924A180-DB1A-0E2E-1D8F-019BCC27A74A}"/>
          </ac:picMkLst>
        </pc:picChg>
        <pc:picChg chg="mod">
          <ac:chgData name="Ryterski Finn (HNE US-MI-PB-BO)" userId="efff052d-68b9-4e8d-b65b-45dff653056d" providerId="ADAL" clId="{870BDC5B-2E94-425D-B3D4-696163FAE54F}" dt="2025-04-08T14:07:18.071" v="35297" actId="478"/>
          <ac:picMkLst>
            <pc:docMk/>
            <pc:sldMk cId="1199229873" sldId="4191"/>
            <ac:picMk id="1985" creationId="{977067F6-2236-1C2E-0DCA-D85F2A523C1E}"/>
          </ac:picMkLst>
        </pc:picChg>
        <pc:picChg chg="mod">
          <ac:chgData name="Ryterski Finn (HNE US-MI-PB-BO)" userId="efff052d-68b9-4e8d-b65b-45dff653056d" providerId="ADAL" clId="{870BDC5B-2E94-425D-B3D4-696163FAE54F}" dt="2025-04-08T14:07:18.071" v="35297" actId="478"/>
          <ac:picMkLst>
            <pc:docMk/>
            <pc:sldMk cId="1199229873" sldId="4191"/>
            <ac:picMk id="3232" creationId="{C02B0E6D-C78C-EDD5-83CA-A7BE5E74D51D}"/>
          </ac:picMkLst>
        </pc:picChg>
        <pc:picChg chg="mod">
          <ac:chgData name="Ryterski Finn (HNE US-MI-PB-BO)" userId="efff052d-68b9-4e8d-b65b-45dff653056d" providerId="ADAL" clId="{870BDC5B-2E94-425D-B3D4-696163FAE54F}" dt="2025-04-08T14:07:18.071" v="35297" actId="478"/>
          <ac:picMkLst>
            <pc:docMk/>
            <pc:sldMk cId="1199229873" sldId="4191"/>
            <ac:picMk id="3233" creationId="{263EA635-50A8-3764-EA91-B15EA0E7B136}"/>
          </ac:picMkLst>
        </pc:picChg>
        <pc:picChg chg="add del mod">
          <ac:chgData name="Ryterski Finn (HNE US-MI-PB-BO)" userId="efff052d-68b9-4e8d-b65b-45dff653056d" providerId="ADAL" clId="{870BDC5B-2E94-425D-B3D4-696163FAE54F}" dt="2025-04-08T14:08:59.135" v="35319" actId="478"/>
          <ac:picMkLst>
            <pc:docMk/>
            <pc:sldMk cId="1199229873" sldId="4191"/>
            <ac:picMk id="3284" creationId="{ED40DD73-9BD3-1374-0FE9-46579A4B9E78}"/>
          </ac:picMkLst>
        </pc:picChg>
        <pc:picChg chg="add del mod">
          <ac:chgData name="Ryterski Finn (HNE US-MI-PB-BO)" userId="efff052d-68b9-4e8d-b65b-45dff653056d" providerId="ADAL" clId="{870BDC5B-2E94-425D-B3D4-696163FAE54F}" dt="2025-04-08T14:09:22.055" v="35325" actId="478"/>
          <ac:picMkLst>
            <pc:docMk/>
            <pc:sldMk cId="1199229873" sldId="4191"/>
            <ac:picMk id="3286" creationId="{C85C2680-D456-C9BE-02D0-2C2839E28B1B}"/>
          </ac:picMkLst>
        </pc:picChg>
        <pc:picChg chg="add del mod ord modCrop">
          <ac:chgData name="Ryterski Finn (HNE US-MI-PB-BO)" userId="efff052d-68b9-4e8d-b65b-45dff653056d" providerId="ADAL" clId="{870BDC5B-2E94-425D-B3D4-696163FAE54F}" dt="2025-04-08T14:11:49.781" v="35409" actId="478"/>
          <ac:picMkLst>
            <pc:docMk/>
            <pc:sldMk cId="1199229873" sldId="4191"/>
            <ac:picMk id="3288" creationId="{E0A7E89F-4898-1054-FCA8-DD797BF2C28F}"/>
          </ac:picMkLst>
        </pc:picChg>
        <pc:picChg chg="add del mod">
          <ac:chgData name="Ryterski Finn (HNE US-MI-PB-BO)" userId="efff052d-68b9-4e8d-b65b-45dff653056d" providerId="ADAL" clId="{870BDC5B-2E94-425D-B3D4-696163FAE54F}" dt="2025-04-08T14:11:49.349" v="35408" actId="22"/>
          <ac:picMkLst>
            <pc:docMk/>
            <pc:sldMk cId="1199229873" sldId="4191"/>
            <ac:picMk id="3291" creationId="{F7ACBC7E-DDB7-4B4A-5388-F4FBABDA75E7}"/>
          </ac:picMkLst>
        </pc:picChg>
        <pc:cxnChg chg="mod">
          <ac:chgData name="Ryterski Finn (HNE US-MI-PB-BO)" userId="efff052d-68b9-4e8d-b65b-45dff653056d" providerId="ADAL" clId="{870BDC5B-2E94-425D-B3D4-696163FAE54F}" dt="2025-04-08T14:07:52.577" v="35312" actId="478"/>
          <ac:cxnSpMkLst>
            <pc:docMk/>
            <pc:sldMk cId="1199229873" sldId="4191"/>
            <ac:cxnSpMk id="3254" creationId="{9453B19C-7FB9-7D63-9E5C-18163834D539}"/>
          </ac:cxnSpMkLst>
        </pc:cxnChg>
        <pc:cxnChg chg="mod">
          <ac:chgData name="Ryterski Finn (HNE US-MI-PB-BO)" userId="efff052d-68b9-4e8d-b65b-45dff653056d" providerId="ADAL" clId="{870BDC5B-2E94-425D-B3D4-696163FAE54F}" dt="2025-04-08T14:07:52.577" v="35312" actId="478"/>
          <ac:cxnSpMkLst>
            <pc:docMk/>
            <pc:sldMk cId="1199229873" sldId="4191"/>
            <ac:cxnSpMk id="3255" creationId="{C37831C9-64D9-FD12-2F2F-D9FBD779AD54}"/>
          </ac:cxnSpMkLst>
        </pc:cxnChg>
        <pc:cxnChg chg="mod">
          <ac:chgData name="Ryterski Finn (HNE US-MI-PB-BO)" userId="efff052d-68b9-4e8d-b65b-45dff653056d" providerId="ADAL" clId="{870BDC5B-2E94-425D-B3D4-696163FAE54F}" dt="2025-04-08T14:07:52.577" v="35312" actId="478"/>
          <ac:cxnSpMkLst>
            <pc:docMk/>
            <pc:sldMk cId="1199229873" sldId="4191"/>
            <ac:cxnSpMk id="3256" creationId="{928E253A-A625-4B3A-E3F0-7D14D8AE048A}"/>
          </ac:cxnSpMkLst>
        </pc:cxnChg>
        <pc:cxnChg chg="mod">
          <ac:chgData name="Ryterski Finn (HNE US-MI-PB-BO)" userId="efff052d-68b9-4e8d-b65b-45dff653056d" providerId="ADAL" clId="{870BDC5B-2E94-425D-B3D4-696163FAE54F}" dt="2025-04-08T14:07:52.577" v="35312" actId="478"/>
          <ac:cxnSpMkLst>
            <pc:docMk/>
            <pc:sldMk cId="1199229873" sldId="4191"/>
            <ac:cxnSpMk id="3257" creationId="{6ADBA644-AF8B-3B32-7845-3FB002D3E81E}"/>
          </ac:cxnSpMkLst>
        </pc:cxnChg>
        <pc:cxnChg chg="mod">
          <ac:chgData name="Ryterski Finn (HNE US-MI-PB-BO)" userId="efff052d-68b9-4e8d-b65b-45dff653056d" providerId="ADAL" clId="{870BDC5B-2E94-425D-B3D4-696163FAE54F}" dt="2025-04-08T14:07:52.577" v="35312" actId="478"/>
          <ac:cxnSpMkLst>
            <pc:docMk/>
            <pc:sldMk cId="1199229873" sldId="4191"/>
            <ac:cxnSpMk id="3258" creationId="{A423523A-DA2D-626D-8625-C613E729ACAC}"/>
          </ac:cxnSpMkLst>
        </pc:cxnChg>
        <pc:cxnChg chg="mod">
          <ac:chgData name="Ryterski Finn (HNE US-MI-PB-BO)" userId="efff052d-68b9-4e8d-b65b-45dff653056d" providerId="ADAL" clId="{870BDC5B-2E94-425D-B3D4-696163FAE54F}" dt="2025-04-08T14:07:52.577" v="35312" actId="478"/>
          <ac:cxnSpMkLst>
            <pc:docMk/>
            <pc:sldMk cId="1199229873" sldId="4191"/>
            <ac:cxnSpMk id="3259" creationId="{C18D5A60-5D21-1A5D-4B7B-2794EFEC33A8}"/>
          </ac:cxnSpMkLst>
        </pc:cxnChg>
      </pc:sldChg>
      <pc:sldChg chg="modSp add del mod">
        <pc:chgData name="Ryterski Finn (HNE US-MI-PB-BO)" userId="efff052d-68b9-4e8d-b65b-45dff653056d" providerId="ADAL" clId="{870BDC5B-2E94-425D-B3D4-696163FAE54F}" dt="2025-04-07T07:27:51.523" v="21838" actId="47"/>
        <pc:sldMkLst>
          <pc:docMk/>
          <pc:sldMk cId="88876166" sldId="4192"/>
        </pc:sldMkLst>
        <pc:spChg chg="mod">
          <ac:chgData name="Ryterski Finn (HNE US-MI-PB-BO)" userId="efff052d-68b9-4e8d-b65b-45dff653056d" providerId="ADAL" clId="{870BDC5B-2E94-425D-B3D4-696163FAE54F}" dt="2025-04-07T07:19:28.665" v="21365" actId="20577"/>
          <ac:spMkLst>
            <pc:docMk/>
            <pc:sldMk cId="88876166" sldId="4192"/>
            <ac:spMk id="73" creationId="{D96F94C3-1354-D297-1804-1D9756DA1B96}"/>
          </ac:spMkLst>
        </pc:spChg>
      </pc:sldChg>
      <pc:sldChg chg="modSp add mod">
        <pc:chgData name="Ryterski Finn (HNE US-MI-PB-BO)" userId="efff052d-68b9-4e8d-b65b-45dff653056d" providerId="ADAL" clId="{870BDC5B-2E94-425D-B3D4-696163FAE54F}" dt="2025-04-07T08:27:51.340" v="25342" actId="20577"/>
        <pc:sldMkLst>
          <pc:docMk/>
          <pc:sldMk cId="2423477943" sldId="4192"/>
        </pc:sldMkLst>
        <pc:spChg chg="mod">
          <ac:chgData name="Ryterski Finn (HNE US-MI-PB-BO)" userId="efff052d-68b9-4e8d-b65b-45dff653056d" providerId="ADAL" clId="{870BDC5B-2E94-425D-B3D4-696163FAE54F}" dt="2025-04-07T08:27:51.340" v="25342" actId="20577"/>
          <ac:spMkLst>
            <pc:docMk/>
            <pc:sldMk cId="2423477943" sldId="4192"/>
            <ac:spMk id="8" creationId="{D90EB5B0-1AE5-EEAC-2468-88B2E52814D4}"/>
          </ac:spMkLst>
        </pc:spChg>
      </pc:sldChg>
      <pc:sldMasterChg chg="del delSldLayout">
        <pc:chgData name="Ryterski Finn (HNE US-MI-PB-BO)" userId="efff052d-68b9-4e8d-b65b-45dff653056d" providerId="ADAL" clId="{870BDC5B-2E94-425D-B3D4-696163FAE54F}" dt="2025-04-03T06:38:33.456" v="64" actId="700"/>
        <pc:sldMasterMkLst>
          <pc:docMk/>
          <pc:sldMasterMk cId="2501798855" sldId="2147483726"/>
        </pc:sldMasterMkLst>
        <pc:sldLayoutChg chg="del">
          <pc:chgData name="Ryterski Finn (HNE US-MI-PB-BO)" userId="efff052d-68b9-4e8d-b65b-45dff653056d" providerId="ADAL" clId="{870BDC5B-2E94-425D-B3D4-696163FAE54F}" dt="2025-04-03T06:38:33.456" v="64" actId="700"/>
          <pc:sldLayoutMkLst>
            <pc:docMk/>
            <pc:sldMasterMk cId="2501798855" sldId="2147483726"/>
            <pc:sldLayoutMk cId="2970745863" sldId="2147483727"/>
          </pc:sldLayoutMkLst>
        </pc:sldLayoutChg>
        <pc:sldLayoutChg chg="del">
          <pc:chgData name="Ryterski Finn (HNE US-MI-PB-BO)" userId="efff052d-68b9-4e8d-b65b-45dff653056d" providerId="ADAL" clId="{870BDC5B-2E94-425D-B3D4-696163FAE54F}" dt="2025-04-03T06:38:33.456" v="64" actId="700"/>
          <pc:sldLayoutMkLst>
            <pc:docMk/>
            <pc:sldMasterMk cId="2501798855" sldId="2147483726"/>
            <pc:sldLayoutMk cId="634143222" sldId="2147483728"/>
          </pc:sldLayoutMkLst>
        </pc:sldLayoutChg>
        <pc:sldLayoutChg chg="del">
          <pc:chgData name="Ryterski Finn (HNE US-MI-PB-BO)" userId="efff052d-68b9-4e8d-b65b-45dff653056d" providerId="ADAL" clId="{870BDC5B-2E94-425D-B3D4-696163FAE54F}" dt="2025-04-03T06:38:33.456" v="64" actId="700"/>
          <pc:sldLayoutMkLst>
            <pc:docMk/>
            <pc:sldMasterMk cId="2501798855" sldId="2147483726"/>
            <pc:sldLayoutMk cId="226059437" sldId="2147483729"/>
          </pc:sldLayoutMkLst>
        </pc:sldLayoutChg>
        <pc:sldLayoutChg chg="del">
          <pc:chgData name="Ryterski Finn (HNE US-MI-PB-BO)" userId="efff052d-68b9-4e8d-b65b-45dff653056d" providerId="ADAL" clId="{870BDC5B-2E94-425D-B3D4-696163FAE54F}" dt="2025-04-03T06:38:33.456" v="64" actId="700"/>
          <pc:sldLayoutMkLst>
            <pc:docMk/>
            <pc:sldMasterMk cId="2501798855" sldId="2147483726"/>
            <pc:sldLayoutMk cId="3053976095" sldId="2147483730"/>
          </pc:sldLayoutMkLst>
        </pc:sldLayoutChg>
        <pc:sldLayoutChg chg="del">
          <pc:chgData name="Ryterski Finn (HNE US-MI-PB-BO)" userId="efff052d-68b9-4e8d-b65b-45dff653056d" providerId="ADAL" clId="{870BDC5B-2E94-425D-B3D4-696163FAE54F}" dt="2025-04-03T06:38:33.456" v="64" actId="700"/>
          <pc:sldLayoutMkLst>
            <pc:docMk/>
            <pc:sldMasterMk cId="2501798855" sldId="2147483726"/>
            <pc:sldLayoutMk cId="1070913047" sldId="2147483731"/>
          </pc:sldLayoutMkLst>
        </pc:sldLayoutChg>
        <pc:sldLayoutChg chg="del">
          <pc:chgData name="Ryterski Finn (HNE US-MI-PB-BO)" userId="efff052d-68b9-4e8d-b65b-45dff653056d" providerId="ADAL" clId="{870BDC5B-2E94-425D-B3D4-696163FAE54F}" dt="2025-04-03T06:38:33.456" v="64" actId="700"/>
          <pc:sldLayoutMkLst>
            <pc:docMk/>
            <pc:sldMasterMk cId="2501798855" sldId="2147483726"/>
            <pc:sldLayoutMk cId="4040076250" sldId="2147483732"/>
          </pc:sldLayoutMkLst>
        </pc:sldLayoutChg>
        <pc:sldLayoutChg chg="del">
          <pc:chgData name="Ryterski Finn (HNE US-MI-PB-BO)" userId="efff052d-68b9-4e8d-b65b-45dff653056d" providerId="ADAL" clId="{870BDC5B-2E94-425D-B3D4-696163FAE54F}" dt="2025-04-03T06:38:33.456" v="64" actId="700"/>
          <pc:sldLayoutMkLst>
            <pc:docMk/>
            <pc:sldMasterMk cId="2501798855" sldId="2147483726"/>
            <pc:sldLayoutMk cId="1428720203" sldId="2147483733"/>
          </pc:sldLayoutMkLst>
        </pc:sldLayoutChg>
        <pc:sldLayoutChg chg="del">
          <pc:chgData name="Ryterski Finn (HNE US-MI-PB-BO)" userId="efff052d-68b9-4e8d-b65b-45dff653056d" providerId="ADAL" clId="{870BDC5B-2E94-425D-B3D4-696163FAE54F}" dt="2025-04-03T06:38:33.456" v="64" actId="700"/>
          <pc:sldLayoutMkLst>
            <pc:docMk/>
            <pc:sldMasterMk cId="2501798855" sldId="2147483726"/>
            <pc:sldLayoutMk cId="1854757898" sldId="2147483734"/>
          </pc:sldLayoutMkLst>
        </pc:sldLayoutChg>
        <pc:sldLayoutChg chg="del">
          <pc:chgData name="Ryterski Finn (HNE US-MI-PB-BO)" userId="efff052d-68b9-4e8d-b65b-45dff653056d" providerId="ADAL" clId="{870BDC5B-2E94-425D-B3D4-696163FAE54F}" dt="2025-04-03T06:38:33.456" v="64" actId="700"/>
          <pc:sldLayoutMkLst>
            <pc:docMk/>
            <pc:sldMasterMk cId="2501798855" sldId="2147483726"/>
            <pc:sldLayoutMk cId="746560919" sldId="2147483735"/>
          </pc:sldLayoutMkLst>
        </pc:sldLayoutChg>
        <pc:sldLayoutChg chg="del">
          <pc:chgData name="Ryterski Finn (HNE US-MI-PB-BO)" userId="efff052d-68b9-4e8d-b65b-45dff653056d" providerId="ADAL" clId="{870BDC5B-2E94-425D-B3D4-696163FAE54F}" dt="2025-04-03T06:38:33.456" v="64" actId="700"/>
          <pc:sldLayoutMkLst>
            <pc:docMk/>
            <pc:sldMasterMk cId="2501798855" sldId="2147483726"/>
            <pc:sldLayoutMk cId="2613943593" sldId="2147483736"/>
          </pc:sldLayoutMkLst>
        </pc:sldLayoutChg>
        <pc:sldLayoutChg chg="del">
          <pc:chgData name="Ryterski Finn (HNE US-MI-PB-BO)" userId="efff052d-68b9-4e8d-b65b-45dff653056d" providerId="ADAL" clId="{870BDC5B-2E94-425D-B3D4-696163FAE54F}" dt="2025-04-03T06:38:33.456" v="64" actId="700"/>
          <pc:sldLayoutMkLst>
            <pc:docMk/>
            <pc:sldMasterMk cId="2501798855" sldId="2147483726"/>
            <pc:sldLayoutMk cId="3415287991" sldId="2147483737"/>
          </pc:sldLayoutMkLst>
        </pc:sldLayoutChg>
        <pc:sldLayoutChg chg="del">
          <pc:chgData name="Ryterski Finn (HNE US-MI-PB-BO)" userId="efff052d-68b9-4e8d-b65b-45dff653056d" providerId="ADAL" clId="{870BDC5B-2E94-425D-B3D4-696163FAE54F}" dt="2025-04-03T06:38:33.456" v="64" actId="700"/>
          <pc:sldLayoutMkLst>
            <pc:docMk/>
            <pc:sldMasterMk cId="2501798855" sldId="2147483726"/>
            <pc:sldLayoutMk cId="1163563746" sldId="2147483738"/>
          </pc:sldLayoutMkLst>
        </pc:sldLayoutChg>
        <pc:sldLayoutChg chg="del">
          <pc:chgData name="Ryterski Finn (HNE US-MI-PB-BO)" userId="efff052d-68b9-4e8d-b65b-45dff653056d" providerId="ADAL" clId="{870BDC5B-2E94-425D-B3D4-696163FAE54F}" dt="2025-04-03T06:38:33.456" v="64" actId="700"/>
          <pc:sldLayoutMkLst>
            <pc:docMk/>
            <pc:sldMasterMk cId="2501798855" sldId="2147483726"/>
            <pc:sldLayoutMk cId="2983567921" sldId="2147483739"/>
          </pc:sldLayoutMkLst>
        </pc:sldLayoutChg>
        <pc:sldLayoutChg chg="del">
          <pc:chgData name="Ryterski Finn (HNE US-MI-PB-BO)" userId="efff052d-68b9-4e8d-b65b-45dff653056d" providerId="ADAL" clId="{870BDC5B-2E94-425D-B3D4-696163FAE54F}" dt="2025-04-03T06:38:33.456" v="64" actId="700"/>
          <pc:sldLayoutMkLst>
            <pc:docMk/>
            <pc:sldMasterMk cId="2501798855" sldId="2147483726"/>
            <pc:sldLayoutMk cId="21885730" sldId="2147483740"/>
          </pc:sldLayoutMkLst>
        </pc:sldLayoutChg>
        <pc:sldLayoutChg chg="del">
          <pc:chgData name="Ryterski Finn (HNE US-MI-PB-BO)" userId="efff052d-68b9-4e8d-b65b-45dff653056d" providerId="ADAL" clId="{870BDC5B-2E94-425D-B3D4-696163FAE54F}" dt="2025-04-03T06:38:33.456" v="64" actId="700"/>
          <pc:sldLayoutMkLst>
            <pc:docMk/>
            <pc:sldMasterMk cId="2501798855" sldId="2147483726"/>
            <pc:sldLayoutMk cId="2467668353" sldId="2147483741"/>
          </pc:sldLayoutMkLst>
        </pc:sldLayoutChg>
        <pc:sldLayoutChg chg="del">
          <pc:chgData name="Ryterski Finn (HNE US-MI-PB-BO)" userId="efff052d-68b9-4e8d-b65b-45dff653056d" providerId="ADAL" clId="{870BDC5B-2E94-425D-B3D4-696163FAE54F}" dt="2025-04-03T06:38:33.456" v="64" actId="700"/>
          <pc:sldLayoutMkLst>
            <pc:docMk/>
            <pc:sldMasterMk cId="2501798855" sldId="2147483726"/>
            <pc:sldLayoutMk cId="2693376434" sldId="2147483742"/>
          </pc:sldLayoutMkLst>
        </pc:sldLayoutChg>
        <pc:sldLayoutChg chg="del">
          <pc:chgData name="Ryterski Finn (HNE US-MI-PB-BO)" userId="efff052d-68b9-4e8d-b65b-45dff653056d" providerId="ADAL" clId="{870BDC5B-2E94-425D-B3D4-696163FAE54F}" dt="2025-04-03T06:38:33.456" v="64" actId="700"/>
          <pc:sldLayoutMkLst>
            <pc:docMk/>
            <pc:sldMasterMk cId="2501798855" sldId="2147483726"/>
            <pc:sldLayoutMk cId="1267529583" sldId="2147483743"/>
          </pc:sldLayoutMkLst>
        </pc:sldLayoutChg>
        <pc:sldLayoutChg chg="del">
          <pc:chgData name="Ryterski Finn (HNE US-MI-PB-BO)" userId="efff052d-68b9-4e8d-b65b-45dff653056d" providerId="ADAL" clId="{870BDC5B-2E94-425D-B3D4-696163FAE54F}" dt="2025-04-03T06:38:33.456" v="64" actId="700"/>
          <pc:sldLayoutMkLst>
            <pc:docMk/>
            <pc:sldMasterMk cId="2501798855" sldId="2147483726"/>
            <pc:sldLayoutMk cId="3465394268" sldId="2147483744"/>
          </pc:sldLayoutMkLst>
        </pc:sldLayoutChg>
        <pc:sldLayoutChg chg="del">
          <pc:chgData name="Ryterski Finn (HNE US-MI-PB-BO)" userId="efff052d-68b9-4e8d-b65b-45dff653056d" providerId="ADAL" clId="{870BDC5B-2E94-425D-B3D4-696163FAE54F}" dt="2025-04-03T06:38:33.456" v="64" actId="700"/>
          <pc:sldLayoutMkLst>
            <pc:docMk/>
            <pc:sldMasterMk cId="2501798855" sldId="2147483726"/>
            <pc:sldLayoutMk cId="3591006020" sldId="2147483745"/>
          </pc:sldLayoutMkLst>
        </pc:sldLayoutChg>
        <pc:sldLayoutChg chg="del">
          <pc:chgData name="Ryterski Finn (HNE US-MI-PB-BO)" userId="efff052d-68b9-4e8d-b65b-45dff653056d" providerId="ADAL" clId="{870BDC5B-2E94-425D-B3D4-696163FAE54F}" dt="2025-04-03T06:38:33.456" v="64" actId="700"/>
          <pc:sldLayoutMkLst>
            <pc:docMk/>
            <pc:sldMasterMk cId="2501798855" sldId="2147483726"/>
            <pc:sldLayoutMk cId="3862474753" sldId="2147483746"/>
          </pc:sldLayoutMkLst>
        </pc:sldLayoutChg>
        <pc:sldLayoutChg chg="del">
          <pc:chgData name="Ryterski Finn (HNE US-MI-PB-BO)" userId="efff052d-68b9-4e8d-b65b-45dff653056d" providerId="ADAL" clId="{870BDC5B-2E94-425D-B3D4-696163FAE54F}" dt="2025-04-03T06:38:33.456" v="64" actId="700"/>
          <pc:sldLayoutMkLst>
            <pc:docMk/>
            <pc:sldMasterMk cId="2501798855" sldId="2147483726"/>
            <pc:sldLayoutMk cId="4195437195" sldId="2147483747"/>
          </pc:sldLayoutMkLst>
        </pc:sldLayoutChg>
      </pc:sldMasterChg>
    </pc:docChg>
  </pc:docChgLst>
  <pc:docChgLst>
    <pc:chgData name="Ryterski Finn (HNE US-MI-PB-BO)" userId="S::finn.ryterski@hamburger-energienetze.de::efff052d-68b9-4e8d-b65b-45dff653056d" providerId="AD" clId="Web-{0A0476CF-5473-18D4-586C-F177DEF12BEE}"/>
    <pc:docChg chg="addSld delSld modSld sldOrd modSection">
      <pc:chgData name="Ryterski Finn (HNE US-MI-PB-BO)" userId="S::finn.ryterski@hamburger-energienetze.de::efff052d-68b9-4e8d-b65b-45dff653056d" providerId="AD" clId="Web-{0A0476CF-5473-18D4-586C-F177DEF12BEE}" dt="2025-04-15T10:41:22.387" v="10"/>
      <pc:docMkLst>
        <pc:docMk/>
      </pc:docMkLst>
      <pc:sldChg chg="modSp add del">
        <pc:chgData name="Ryterski Finn (HNE US-MI-PB-BO)" userId="S::finn.ryterski@hamburger-energienetze.de::efff052d-68b9-4e8d-b65b-45dff653056d" providerId="AD" clId="Web-{0A0476CF-5473-18D4-586C-F177DEF12BEE}" dt="2025-04-15T10:41:19.840" v="9"/>
        <pc:sldMkLst>
          <pc:docMk/>
          <pc:sldMk cId="2747648410" sldId="1008"/>
        </pc:sldMkLst>
        <pc:spChg chg="mod">
          <ac:chgData name="Ryterski Finn (HNE US-MI-PB-BO)" userId="S::finn.ryterski@hamburger-energienetze.de::efff052d-68b9-4e8d-b65b-45dff653056d" providerId="AD" clId="Web-{0A0476CF-5473-18D4-586C-F177DEF12BEE}" dt="2025-04-15T10:41:09.527" v="6" actId="20577"/>
          <ac:spMkLst>
            <pc:docMk/>
            <pc:sldMk cId="2747648410" sldId="1008"/>
            <ac:spMk id="2" creationId="{B4A7C721-509F-47E8-BE23-E19529987347}"/>
          </ac:spMkLst>
        </pc:spChg>
      </pc:sldChg>
      <pc:sldChg chg="add del">
        <pc:chgData name="Ryterski Finn (HNE US-MI-PB-BO)" userId="S::finn.ryterski@hamburger-energienetze.de::efff052d-68b9-4e8d-b65b-45dff653056d" providerId="AD" clId="Web-{0A0476CF-5473-18D4-586C-F177DEF12BEE}" dt="2025-04-15T10:41:06.918" v="5"/>
        <pc:sldMkLst>
          <pc:docMk/>
          <pc:sldMk cId="2801118348" sldId="1011"/>
        </pc:sldMkLst>
      </pc:sldChg>
      <pc:sldChg chg="ord">
        <pc:chgData name="Ryterski Finn (HNE US-MI-PB-BO)" userId="S::finn.ryterski@hamburger-energienetze.de::efff052d-68b9-4e8d-b65b-45dff653056d" providerId="AD" clId="Web-{0A0476CF-5473-18D4-586C-F177DEF12BEE}" dt="2025-04-15T10:41:22.387" v="10"/>
        <pc:sldMkLst>
          <pc:docMk/>
          <pc:sldMk cId="1310280941" sldId="4193"/>
        </pc:sldMkLst>
      </pc:sldChg>
    </pc:docChg>
  </pc:docChgLst>
  <pc:docChgLst>
    <pc:chgData name="Ryterski Finn (HNE US-MI-PB-BO)" userId="S::finn.ryterski@hamburger-energienetze.de::efff052d-68b9-4e8d-b65b-45dff653056d" providerId="AD" clId="Web-{D926C8A5-A6CA-3795-41B3-DD7D7D46B8C8}"/>
    <pc:docChg chg="modSld">
      <pc:chgData name="Ryterski Finn (HNE US-MI-PB-BO)" userId="S::finn.ryterski@hamburger-energienetze.de::efff052d-68b9-4e8d-b65b-45dff653056d" providerId="AD" clId="Web-{D926C8A5-A6CA-3795-41B3-DD7D7D46B8C8}" dt="2025-04-15T14:52:32.795" v="3" actId="20577"/>
      <pc:docMkLst>
        <pc:docMk/>
      </pc:docMkLst>
      <pc:sldChg chg="modSp">
        <pc:chgData name="Ryterski Finn (HNE US-MI-PB-BO)" userId="S::finn.ryterski@hamburger-energienetze.de::efff052d-68b9-4e8d-b65b-45dff653056d" providerId="AD" clId="Web-{D926C8A5-A6CA-3795-41B3-DD7D7D46B8C8}" dt="2025-04-15T14:52:32.795" v="3" actId="20577"/>
        <pc:sldMkLst>
          <pc:docMk/>
          <pc:sldMk cId="1310280941" sldId="4193"/>
        </pc:sldMkLst>
        <pc:spChg chg="mod">
          <ac:chgData name="Ryterski Finn (HNE US-MI-PB-BO)" userId="S::finn.ryterski@hamburger-energienetze.de::efff052d-68b9-4e8d-b65b-45dff653056d" providerId="AD" clId="Web-{D926C8A5-A6CA-3795-41B3-DD7D7D46B8C8}" dt="2025-04-15T14:52:32.795" v="3" actId="20577"/>
          <ac:spMkLst>
            <pc:docMk/>
            <pc:sldMk cId="1310280941" sldId="4193"/>
            <ac:spMk id="40" creationId="{72191F97-392B-0D25-D9C5-083BFA20DA29}"/>
          </ac:spMkLst>
        </pc:spChg>
      </pc:sldChg>
      <pc:sldChg chg="modSp">
        <pc:chgData name="Ryterski Finn (HNE US-MI-PB-BO)" userId="S::finn.ryterski@hamburger-energienetze.de::efff052d-68b9-4e8d-b65b-45dff653056d" providerId="AD" clId="Web-{D926C8A5-A6CA-3795-41B3-DD7D7D46B8C8}" dt="2025-04-15T14:51:40.590" v="2" actId="20577"/>
        <pc:sldMkLst>
          <pc:docMk/>
          <pc:sldMk cId="111001595" sldId="4200"/>
        </pc:sldMkLst>
        <pc:spChg chg="mod">
          <ac:chgData name="Ryterski Finn (HNE US-MI-PB-BO)" userId="S::finn.ryterski@hamburger-energienetze.de::efff052d-68b9-4e8d-b65b-45dff653056d" providerId="AD" clId="Web-{D926C8A5-A6CA-3795-41B3-DD7D7D46B8C8}" dt="2025-04-15T14:51:40.590" v="2" actId="20577"/>
          <ac:spMkLst>
            <pc:docMk/>
            <pc:sldMk cId="111001595" sldId="4200"/>
            <ac:spMk id="9" creationId="{43669EF4-1A9D-2F6B-9358-C02C07B2052A}"/>
          </ac:spMkLst>
        </pc:spChg>
      </pc:sldChg>
    </pc:docChg>
  </pc:docChgLst>
  <pc:docChgLst>
    <pc:chgData name="Ryterski Finn (HNE US-MI-PB-BO)" userId="S::finn.ryterski@hamburger-energienetze.de::efff052d-68b9-4e8d-b65b-45dff653056d" providerId="AD" clId="Web-{1D840A01-A1A0-CB9C-C43D-F07F463B3A7B}"/>
    <pc:docChg chg="modSld">
      <pc:chgData name="Ryterski Finn (HNE US-MI-PB-BO)" userId="S::finn.ryterski@hamburger-energienetze.de::efff052d-68b9-4e8d-b65b-45dff653056d" providerId="AD" clId="Web-{1D840A01-A1A0-CB9C-C43D-F07F463B3A7B}" dt="2025-04-09T11:12:14.061" v="8" actId="20577"/>
      <pc:docMkLst>
        <pc:docMk/>
      </pc:docMkLst>
      <pc:sldChg chg="modSp">
        <pc:chgData name="Ryterski Finn (HNE US-MI-PB-BO)" userId="S::finn.ryterski@hamburger-energienetze.de::efff052d-68b9-4e8d-b65b-45dff653056d" providerId="AD" clId="Web-{1D840A01-A1A0-CB9C-C43D-F07F463B3A7B}" dt="2025-04-09T11:12:14.061" v="8" actId="20577"/>
        <pc:sldMkLst>
          <pc:docMk/>
          <pc:sldMk cId="2014990854" sldId="4178"/>
        </pc:sldMkLst>
        <pc:spChg chg="mod">
          <ac:chgData name="Ryterski Finn (HNE US-MI-PB-BO)" userId="S::finn.ryterski@hamburger-energienetze.de::efff052d-68b9-4e8d-b65b-45dff653056d" providerId="AD" clId="Web-{1D840A01-A1A0-CB9C-C43D-F07F463B3A7B}" dt="2025-04-09T11:12:14.061" v="8" actId="20577"/>
          <ac:spMkLst>
            <pc:docMk/>
            <pc:sldMk cId="2014990854" sldId="4178"/>
            <ac:spMk id="73" creationId="{B32A6F13-EE27-66E1-F42C-4F12D017E800}"/>
          </ac:spMkLst>
        </pc:spChg>
      </pc:sldChg>
    </pc:docChg>
  </pc:docChgLst>
  <pc:docChgLst>
    <pc:chgData name="Ryterski Finn (HNE US-MI-PB-BO)" userId="efff052d-68b9-4e8d-b65b-45dff653056d" providerId="ADAL" clId="{4E77B3E1-3366-4E21-A4A0-00058AAC76A0}"/>
    <pc:docChg chg="undo redo custSel addSld delSld modSld sldOrd modSection">
      <pc:chgData name="Ryterski Finn (HNE US-MI-PB-BO)" userId="efff052d-68b9-4e8d-b65b-45dff653056d" providerId="ADAL" clId="{4E77B3E1-3366-4E21-A4A0-00058AAC76A0}" dt="2025-04-16T08:31:56.315" v="7021" actId="20577"/>
      <pc:docMkLst>
        <pc:docMk/>
      </pc:docMkLst>
      <pc:sldChg chg="delSp modSp add mod">
        <pc:chgData name="Ryterski Finn (HNE US-MI-PB-BO)" userId="efff052d-68b9-4e8d-b65b-45dff653056d" providerId="ADAL" clId="{4E77B3E1-3366-4E21-A4A0-00058AAC76A0}" dt="2025-04-15T07:42:32.637" v="35" actId="404"/>
        <pc:sldMkLst>
          <pc:docMk/>
          <pc:sldMk cId="3509521838" sldId="294"/>
        </pc:sldMkLst>
        <pc:spChg chg="mod">
          <ac:chgData name="Ryterski Finn (HNE US-MI-PB-BO)" userId="efff052d-68b9-4e8d-b65b-45dff653056d" providerId="ADAL" clId="{4E77B3E1-3366-4E21-A4A0-00058AAC76A0}" dt="2025-04-15T07:42:32.637" v="35" actId="404"/>
          <ac:spMkLst>
            <pc:docMk/>
            <pc:sldMk cId="3509521838" sldId="294"/>
            <ac:spMk id="4" creationId="{BD63797E-AC66-0DE7-F59B-B95534D906ED}"/>
          </ac:spMkLst>
        </pc:spChg>
        <pc:spChg chg="del">
          <ac:chgData name="Ryterski Finn (HNE US-MI-PB-BO)" userId="efff052d-68b9-4e8d-b65b-45dff653056d" providerId="ADAL" clId="{4E77B3E1-3366-4E21-A4A0-00058AAC76A0}" dt="2025-04-15T07:41:48.066" v="14" actId="478"/>
          <ac:spMkLst>
            <pc:docMk/>
            <pc:sldMk cId="3509521838" sldId="294"/>
            <ac:spMk id="6" creationId="{50335DF5-F665-D319-3200-8C2112C8AF1D}"/>
          </ac:spMkLst>
        </pc:spChg>
      </pc:sldChg>
      <pc:sldChg chg="del">
        <pc:chgData name="Ryterski Finn (HNE US-MI-PB-BO)" userId="efff052d-68b9-4e8d-b65b-45dff653056d" providerId="ADAL" clId="{4E77B3E1-3366-4E21-A4A0-00058AAC76A0}" dt="2025-04-15T07:46:45.389" v="115" actId="47"/>
        <pc:sldMkLst>
          <pc:docMk/>
          <pc:sldMk cId="1940875269" sldId="334"/>
        </pc:sldMkLst>
      </pc:sldChg>
      <pc:sldChg chg="modSp add del mod">
        <pc:chgData name="Ryterski Finn (HNE US-MI-PB-BO)" userId="efff052d-68b9-4e8d-b65b-45dff653056d" providerId="ADAL" clId="{4E77B3E1-3366-4E21-A4A0-00058AAC76A0}" dt="2025-04-15T08:37:58.920" v="1673" actId="47"/>
        <pc:sldMkLst>
          <pc:docMk/>
          <pc:sldMk cId="3239120234" sldId="346"/>
        </pc:sldMkLst>
        <pc:graphicFrameChg chg="mod">
          <ac:chgData name="Ryterski Finn (HNE US-MI-PB-BO)" userId="efff052d-68b9-4e8d-b65b-45dff653056d" providerId="ADAL" clId="{4E77B3E1-3366-4E21-A4A0-00058AAC76A0}" dt="2025-04-15T08:29:10.552" v="975"/>
          <ac:graphicFrameMkLst>
            <pc:docMk/>
            <pc:sldMk cId="3239120234" sldId="346"/>
            <ac:graphicFrameMk id="62" creationId="{79A99372-E0F1-14D7-FE7C-1D97B124556B}"/>
          </ac:graphicFrameMkLst>
        </pc:graphicFrameChg>
      </pc:sldChg>
      <pc:sldChg chg="addSp delSp modSp add del mod">
        <pc:chgData name="Ryterski Finn (HNE US-MI-PB-BO)" userId="efff052d-68b9-4e8d-b65b-45dff653056d" providerId="ADAL" clId="{4E77B3E1-3366-4E21-A4A0-00058AAC76A0}" dt="2025-04-15T08:06:03.114" v="856"/>
        <pc:sldMkLst>
          <pc:docMk/>
          <pc:sldMk cId="1225633323" sldId="350"/>
        </pc:sldMkLst>
        <pc:spChg chg="mod">
          <ac:chgData name="Ryterski Finn (HNE US-MI-PB-BO)" userId="efff052d-68b9-4e8d-b65b-45dff653056d" providerId="ADAL" clId="{4E77B3E1-3366-4E21-A4A0-00058AAC76A0}" dt="2025-04-15T08:06:03.114" v="856"/>
          <ac:spMkLst>
            <pc:docMk/>
            <pc:sldMk cId="1225633323" sldId="350"/>
            <ac:spMk id="2" creationId="{EB57B734-0DB4-C6F2-27D2-FDF1E42D9795}"/>
          </ac:spMkLst>
        </pc:spChg>
        <pc:spChg chg="add del mod modVis">
          <ac:chgData name="Ryterski Finn (HNE US-MI-PB-BO)" userId="efff052d-68b9-4e8d-b65b-45dff653056d" providerId="ADAL" clId="{4E77B3E1-3366-4E21-A4A0-00058AAC76A0}" dt="2025-04-15T08:06:03.114" v="856"/>
          <ac:spMkLst>
            <pc:docMk/>
            <pc:sldMk cId="1225633323" sldId="350"/>
            <ac:spMk id="3" creationId="{D2AFBD8C-B635-D268-1C96-BFC652EECA83}"/>
          </ac:spMkLst>
        </pc:spChg>
        <pc:graphicFrameChg chg="mod">
          <ac:chgData name="Ryterski Finn (HNE US-MI-PB-BO)" userId="efff052d-68b9-4e8d-b65b-45dff653056d" providerId="ADAL" clId="{4E77B3E1-3366-4E21-A4A0-00058AAC76A0}" dt="2025-04-15T08:06:03.114" v="856"/>
          <ac:graphicFrameMkLst>
            <pc:docMk/>
            <pc:sldMk cId="1225633323" sldId="350"/>
            <ac:graphicFrameMk id="8" creationId="{F2AA306C-2921-6E07-C0C5-F9B3C0B372AE}"/>
          </ac:graphicFrameMkLst>
        </pc:graphicFrameChg>
      </pc:sldChg>
      <pc:sldChg chg="addSp delSp modSp add del mod modClrScheme chgLayout">
        <pc:chgData name="Ryterski Finn (HNE US-MI-PB-BO)" userId="efff052d-68b9-4e8d-b65b-45dff653056d" providerId="ADAL" clId="{4E77B3E1-3366-4E21-A4A0-00058AAC76A0}" dt="2025-04-15T08:57:42.385" v="2387" actId="47"/>
        <pc:sldMkLst>
          <pc:docMk/>
          <pc:sldMk cId="730125585" sldId="353"/>
        </pc:sldMkLst>
        <pc:spChg chg="mod ord">
          <ac:chgData name="Ryterski Finn (HNE US-MI-PB-BO)" userId="efff052d-68b9-4e8d-b65b-45dff653056d" providerId="ADAL" clId="{4E77B3E1-3366-4E21-A4A0-00058AAC76A0}" dt="2025-04-15T08:55:27.031" v="2193" actId="948"/>
          <ac:spMkLst>
            <pc:docMk/>
            <pc:sldMk cId="730125585" sldId="353"/>
            <ac:spMk id="2" creationId="{98E1E3C6-5026-12B6-4E23-76D32AE6BB5C}"/>
          </ac:spMkLst>
        </pc:spChg>
        <pc:spChg chg="mod ord">
          <ac:chgData name="Ryterski Finn (HNE US-MI-PB-BO)" userId="efff052d-68b9-4e8d-b65b-45dff653056d" providerId="ADAL" clId="{4E77B3E1-3366-4E21-A4A0-00058AAC76A0}" dt="2025-04-15T08:55:26.509" v="2192" actId="700"/>
          <ac:spMkLst>
            <pc:docMk/>
            <pc:sldMk cId="730125585" sldId="353"/>
            <ac:spMk id="3" creationId="{326E1182-984B-48B7-94A5-CDBDE8648225}"/>
          </ac:spMkLst>
        </pc:spChg>
        <pc:spChg chg="add del mod modVis">
          <ac:chgData name="Ryterski Finn (HNE US-MI-PB-BO)" userId="efff052d-68b9-4e8d-b65b-45dff653056d" providerId="ADAL" clId="{4E77B3E1-3366-4E21-A4A0-00058AAC76A0}" dt="2025-04-15T08:54:24.996" v="2039"/>
          <ac:spMkLst>
            <pc:docMk/>
            <pc:sldMk cId="730125585" sldId="353"/>
            <ac:spMk id="4" creationId="{37E7C3FC-9780-A758-5B7D-E75C054463BA}"/>
          </ac:spMkLst>
        </pc:spChg>
        <pc:spChg chg="mod ord">
          <ac:chgData name="Ryterski Finn (HNE US-MI-PB-BO)" userId="efff052d-68b9-4e8d-b65b-45dff653056d" providerId="ADAL" clId="{4E77B3E1-3366-4E21-A4A0-00058AAC76A0}" dt="2025-04-15T08:55:26.509" v="2192" actId="700"/>
          <ac:spMkLst>
            <pc:docMk/>
            <pc:sldMk cId="730125585" sldId="353"/>
            <ac:spMk id="5" creationId="{0C1F7BCF-41F9-20B9-6EE9-03470ADF65C9}"/>
          </ac:spMkLst>
        </pc:spChg>
        <pc:spChg chg="mod ord">
          <ac:chgData name="Ryterski Finn (HNE US-MI-PB-BO)" userId="efff052d-68b9-4e8d-b65b-45dff653056d" providerId="ADAL" clId="{4E77B3E1-3366-4E21-A4A0-00058AAC76A0}" dt="2025-04-15T08:55:26.509" v="2192" actId="700"/>
          <ac:spMkLst>
            <pc:docMk/>
            <pc:sldMk cId="730125585" sldId="353"/>
            <ac:spMk id="6" creationId="{E8604E95-1B30-F9B6-12D1-908E276E81A6}"/>
          </ac:spMkLst>
        </pc:spChg>
        <pc:spChg chg="add del mod ord">
          <ac:chgData name="Ryterski Finn (HNE US-MI-PB-BO)" userId="efff052d-68b9-4e8d-b65b-45dff653056d" providerId="ADAL" clId="{4E77B3E1-3366-4E21-A4A0-00058AAC76A0}" dt="2025-04-15T08:55:26.509" v="2192" actId="700"/>
          <ac:spMkLst>
            <pc:docMk/>
            <pc:sldMk cId="730125585" sldId="353"/>
            <ac:spMk id="7" creationId="{0DBAB90D-9ECA-CF9E-7A59-9E22E1848FCA}"/>
          </ac:spMkLst>
        </pc:spChg>
        <pc:spChg chg="add del mod ord">
          <ac:chgData name="Ryterski Finn (HNE US-MI-PB-BO)" userId="efff052d-68b9-4e8d-b65b-45dff653056d" providerId="ADAL" clId="{4E77B3E1-3366-4E21-A4A0-00058AAC76A0}" dt="2025-04-15T08:55:26.509" v="2192" actId="700"/>
          <ac:spMkLst>
            <pc:docMk/>
            <pc:sldMk cId="730125585" sldId="353"/>
            <ac:spMk id="8" creationId="{627C8FAE-D970-164A-78DA-C2C239A7B9EA}"/>
          </ac:spMkLst>
        </pc:spChg>
        <pc:spChg chg="add del mod modVis">
          <ac:chgData name="Ryterski Finn (HNE US-MI-PB-BO)" userId="efff052d-68b9-4e8d-b65b-45dff653056d" providerId="ADAL" clId="{4E77B3E1-3366-4E21-A4A0-00058AAC76A0}" dt="2025-04-15T08:55:25.916" v="2186" actId="962"/>
          <ac:spMkLst>
            <pc:docMk/>
            <pc:sldMk cId="730125585" sldId="353"/>
            <ac:spMk id="9" creationId="{82C4EEAC-75C8-8EA9-5EFF-F3C1ABF9D51C}"/>
          </ac:spMkLst>
        </pc:spChg>
        <pc:spChg chg="add del mod modVis">
          <ac:chgData name="Ryterski Finn (HNE US-MI-PB-BO)" userId="efff052d-68b9-4e8d-b65b-45dff653056d" providerId="ADAL" clId="{4E77B3E1-3366-4E21-A4A0-00058AAC76A0}" dt="2025-04-15T08:55:27.074" v="2216"/>
          <ac:spMkLst>
            <pc:docMk/>
            <pc:sldMk cId="730125585" sldId="353"/>
            <ac:spMk id="10" creationId="{E902D40D-A492-B316-C82C-39ECC5698071}"/>
          </ac:spMkLst>
        </pc:spChg>
        <pc:spChg chg="mod ord">
          <ac:chgData name="Ryterski Finn (HNE US-MI-PB-BO)" userId="efff052d-68b9-4e8d-b65b-45dff653056d" providerId="ADAL" clId="{4E77B3E1-3366-4E21-A4A0-00058AAC76A0}" dt="2025-04-15T08:55:24.989" v="2165"/>
          <ac:spMkLst>
            <pc:docMk/>
            <pc:sldMk cId="730125585" sldId="353"/>
            <ac:spMk id="100" creationId="{415BE431-5039-F54B-44E2-5299CB80E164}"/>
          </ac:spMkLst>
        </pc:spChg>
        <pc:spChg chg="mod ord">
          <ac:chgData name="Ryterski Finn (HNE US-MI-PB-BO)" userId="efff052d-68b9-4e8d-b65b-45dff653056d" providerId="ADAL" clId="{4E77B3E1-3366-4E21-A4A0-00058AAC76A0}" dt="2025-04-15T08:55:24.989" v="2165"/>
          <ac:spMkLst>
            <pc:docMk/>
            <pc:sldMk cId="730125585" sldId="353"/>
            <ac:spMk id="104" creationId="{BC3A737D-2C67-A45B-E444-811AB1AB7740}"/>
          </ac:spMkLst>
        </pc:spChg>
        <pc:spChg chg="mod ord">
          <ac:chgData name="Ryterski Finn (HNE US-MI-PB-BO)" userId="efff052d-68b9-4e8d-b65b-45dff653056d" providerId="ADAL" clId="{4E77B3E1-3366-4E21-A4A0-00058AAC76A0}" dt="2025-04-15T08:55:24.989" v="2165"/>
          <ac:spMkLst>
            <pc:docMk/>
            <pc:sldMk cId="730125585" sldId="353"/>
            <ac:spMk id="105" creationId="{A457280F-DAF9-947C-2B23-4456CD41F00D}"/>
          </ac:spMkLst>
        </pc:spChg>
        <pc:spChg chg="mod ord">
          <ac:chgData name="Ryterski Finn (HNE US-MI-PB-BO)" userId="efff052d-68b9-4e8d-b65b-45dff653056d" providerId="ADAL" clId="{4E77B3E1-3366-4E21-A4A0-00058AAC76A0}" dt="2025-04-15T08:55:24.989" v="2165"/>
          <ac:spMkLst>
            <pc:docMk/>
            <pc:sldMk cId="730125585" sldId="353"/>
            <ac:spMk id="106" creationId="{487AA056-0E35-6063-5F68-2EB7D21A24BB}"/>
          </ac:spMkLst>
        </pc:spChg>
        <pc:spChg chg="mod ord">
          <ac:chgData name="Ryterski Finn (HNE US-MI-PB-BO)" userId="efff052d-68b9-4e8d-b65b-45dff653056d" providerId="ADAL" clId="{4E77B3E1-3366-4E21-A4A0-00058AAC76A0}" dt="2025-04-15T08:55:24.989" v="2165"/>
          <ac:spMkLst>
            <pc:docMk/>
            <pc:sldMk cId="730125585" sldId="353"/>
            <ac:spMk id="107" creationId="{B6506ED4-FF7E-D217-0D24-A9F49457ED15}"/>
          </ac:spMkLst>
        </pc:spChg>
        <pc:spChg chg="mod ord">
          <ac:chgData name="Ryterski Finn (HNE US-MI-PB-BO)" userId="efff052d-68b9-4e8d-b65b-45dff653056d" providerId="ADAL" clId="{4E77B3E1-3366-4E21-A4A0-00058AAC76A0}" dt="2025-04-15T08:55:24.989" v="2165"/>
          <ac:spMkLst>
            <pc:docMk/>
            <pc:sldMk cId="730125585" sldId="353"/>
            <ac:spMk id="108" creationId="{AA731D5F-E293-6C5B-9F70-5B5EA03510A6}"/>
          </ac:spMkLst>
        </pc:spChg>
        <pc:spChg chg="mod ord">
          <ac:chgData name="Ryterski Finn (HNE US-MI-PB-BO)" userId="efff052d-68b9-4e8d-b65b-45dff653056d" providerId="ADAL" clId="{4E77B3E1-3366-4E21-A4A0-00058AAC76A0}" dt="2025-04-15T08:55:24.989" v="2165"/>
          <ac:spMkLst>
            <pc:docMk/>
            <pc:sldMk cId="730125585" sldId="353"/>
            <ac:spMk id="109" creationId="{B0D1FCFF-36D4-247E-B34E-8DED1EC4904C}"/>
          </ac:spMkLst>
        </pc:spChg>
        <pc:spChg chg="add del mod ord">
          <ac:chgData name="Ryterski Finn (HNE US-MI-PB-BO)" userId="efff052d-68b9-4e8d-b65b-45dff653056d" providerId="ADAL" clId="{4E77B3E1-3366-4E21-A4A0-00058AAC76A0}" dt="2025-04-15T08:55:24.989" v="2165"/>
          <ac:spMkLst>
            <pc:docMk/>
            <pc:sldMk cId="730125585" sldId="353"/>
            <ac:spMk id="170" creationId="{AA6A726E-E3D5-36D0-374F-B883D4DA1AF7}"/>
          </ac:spMkLst>
        </pc:spChg>
        <pc:spChg chg="mod ord">
          <ac:chgData name="Ryterski Finn (HNE US-MI-PB-BO)" userId="efff052d-68b9-4e8d-b65b-45dff653056d" providerId="ADAL" clId="{4E77B3E1-3366-4E21-A4A0-00058AAC76A0}" dt="2025-04-15T08:55:24.989" v="2165"/>
          <ac:spMkLst>
            <pc:docMk/>
            <pc:sldMk cId="730125585" sldId="353"/>
            <ac:spMk id="172" creationId="{5695553B-FEA3-BB0C-28E3-CFAB8DA1BAC7}"/>
          </ac:spMkLst>
        </pc:spChg>
        <pc:spChg chg="mod ord">
          <ac:chgData name="Ryterski Finn (HNE US-MI-PB-BO)" userId="efff052d-68b9-4e8d-b65b-45dff653056d" providerId="ADAL" clId="{4E77B3E1-3366-4E21-A4A0-00058AAC76A0}" dt="2025-04-15T08:55:24.989" v="2165"/>
          <ac:spMkLst>
            <pc:docMk/>
            <pc:sldMk cId="730125585" sldId="353"/>
            <ac:spMk id="173" creationId="{B5791155-F35A-B23E-1C55-246A3D20F1B9}"/>
          </ac:spMkLst>
        </pc:spChg>
        <pc:spChg chg="mod ord">
          <ac:chgData name="Ryterski Finn (HNE US-MI-PB-BO)" userId="efff052d-68b9-4e8d-b65b-45dff653056d" providerId="ADAL" clId="{4E77B3E1-3366-4E21-A4A0-00058AAC76A0}" dt="2025-04-15T08:55:24.989" v="2165"/>
          <ac:spMkLst>
            <pc:docMk/>
            <pc:sldMk cId="730125585" sldId="353"/>
            <ac:spMk id="188" creationId="{DA5CF320-1396-3F21-FECD-9BB023D1B2F4}"/>
          </ac:spMkLst>
        </pc:spChg>
        <pc:spChg chg="mod ord">
          <ac:chgData name="Ryterski Finn (HNE US-MI-PB-BO)" userId="efff052d-68b9-4e8d-b65b-45dff653056d" providerId="ADAL" clId="{4E77B3E1-3366-4E21-A4A0-00058AAC76A0}" dt="2025-04-15T08:55:24.989" v="2165"/>
          <ac:spMkLst>
            <pc:docMk/>
            <pc:sldMk cId="730125585" sldId="353"/>
            <ac:spMk id="189" creationId="{DD1893C6-0777-B771-7226-E91548A7F82A}"/>
          </ac:spMkLst>
        </pc:spChg>
        <pc:spChg chg="mod ord">
          <ac:chgData name="Ryterski Finn (HNE US-MI-PB-BO)" userId="efff052d-68b9-4e8d-b65b-45dff653056d" providerId="ADAL" clId="{4E77B3E1-3366-4E21-A4A0-00058AAC76A0}" dt="2025-04-15T08:55:24.989" v="2165"/>
          <ac:spMkLst>
            <pc:docMk/>
            <pc:sldMk cId="730125585" sldId="353"/>
            <ac:spMk id="190" creationId="{66473A5C-9A7B-8B25-3711-AE0A8B0F142B}"/>
          </ac:spMkLst>
        </pc:spChg>
        <pc:spChg chg="mod ord">
          <ac:chgData name="Ryterski Finn (HNE US-MI-PB-BO)" userId="efff052d-68b9-4e8d-b65b-45dff653056d" providerId="ADAL" clId="{4E77B3E1-3366-4E21-A4A0-00058AAC76A0}" dt="2025-04-15T08:55:24.989" v="2165"/>
          <ac:spMkLst>
            <pc:docMk/>
            <pc:sldMk cId="730125585" sldId="353"/>
            <ac:spMk id="191" creationId="{A0FCB55C-3DAA-5E07-CF0B-08AC36AA8157}"/>
          </ac:spMkLst>
        </pc:spChg>
        <pc:spChg chg="mod ord">
          <ac:chgData name="Ryterski Finn (HNE US-MI-PB-BO)" userId="efff052d-68b9-4e8d-b65b-45dff653056d" providerId="ADAL" clId="{4E77B3E1-3366-4E21-A4A0-00058AAC76A0}" dt="2025-04-15T08:55:24.989" v="2165"/>
          <ac:spMkLst>
            <pc:docMk/>
            <pc:sldMk cId="730125585" sldId="353"/>
            <ac:spMk id="192" creationId="{7F841E36-3347-69BD-F449-1A5F64979821}"/>
          </ac:spMkLst>
        </pc:spChg>
        <pc:spChg chg="mod ord">
          <ac:chgData name="Ryterski Finn (HNE US-MI-PB-BO)" userId="efff052d-68b9-4e8d-b65b-45dff653056d" providerId="ADAL" clId="{4E77B3E1-3366-4E21-A4A0-00058AAC76A0}" dt="2025-04-15T08:55:24.989" v="2165"/>
          <ac:spMkLst>
            <pc:docMk/>
            <pc:sldMk cId="730125585" sldId="353"/>
            <ac:spMk id="193" creationId="{639829DB-E8BB-3283-2522-E806B8863E58}"/>
          </ac:spMkLst>
        </pc:spChg>
        <pc:grpChg chg="mod">
          <ac:chgData name="Ryterski Finn (HNE US-MI-PB-BO)" userId="efff052d-68b9-4e8d-b65b-45dff653056d" providerId="ADAL" clId="{4E77B3E1-3366-4E21-A4A0-00058AAC76A0}" dt="2025-04-15T08:55:10.186" v="2101"/>
          <ac:grpSpMkLst>
            <pc:docMk/>
            <pc:sldMk cId="730125585" sldId="353"/>
            <ac:grpSpMk id="138" creationId="{3118E043-A76C-DD99-92CD-F3C16C92D1A6}"/>
          </ac:grpSpMkLst>
        </pc:grpChg>
        <pc:graphicFrameChg chg="mod">
          <ac:chgData name="Ryterski Finn (HNE US-MI-PB-BO)" userId="efff052d-68b9-4e8d-b65b-45dff653056d" providerId="ADAL" clId="{4E77B3E1-3366-4E21-A4A0-00058AAC76A0}" dt="2025-04-15T08:55:27.076" v="2218"/>
          <ac:graphicFrameMkLst>
            <pc:docMk/>
            <pc:sldMk cId="730125585" sldId="353"/>
            <ac:graphicFrameMk id="171" creationId="{3D7837C8-0D96-4AAE-9C05-A3EBFFC4296D}"/>
          </ac:graphicFrameMkLst>
        </pc:graphicFrameChg>
        <pc:picChg chg="mod ord">
          <ac:chgData name="Ryterski Finn (HNE US-MI-PB-BO)" userId="efff052d-68b9-4e8d-b65b-45dff653056d" providerId="ADAL" clId="{4E77B3E1-3366-4E21-A4A0-00058AAC76A0}" dt="2025-04-15T08:55:24.989" v="2165"/>
          <ac:picMkLst>
            <pc:docMk/>
            <pc:sldMk cId="730125585" sldId="353"/>
            <ac:picMk id="175" creationId="{04768C4F-5F1E-FE30-6D1D-C654C72E1772}"/>
          </ac:picMkLst>
        </pc:picChg>
        <pc:picChg chg="mod ord">
          <ac:chgData name="Ryterski Finn (HNE US-MI-PB-BO)" userId="efff052d-68b9-4e8d-b65b-45dff653056d" providerId="ADAL" clId="{4E77B3E1-3366-4E21-A4A0-00058AAC76A0}" dt="2025-04-15T08:55:24.989" v="2165"/>
          <ac:picMkLst>
            <pc:docMk/>
            <pc:sldMk cId="730125585" sldId="353"/>
            <ac:picMk id="177" creationId="{8986119A-5B4B-32EE-A312-D8F1FFB47FAA}"/>
          </ac:picMkLst>
        </pc:picChg>
        <pc:picChg chg="mod ord">
          <ac:chgData name="Ryterski Finn (HNE US-MI-PB-BO)" userId="efff052d-68b9-4e8d-b65b-45dff653056d" providerId="ADAL" clId="{4E77B3E1-3366-4E21-A4A0-00058AAC76A0}" dt="2025-04-15T08:55:24.989" v="2165"/>
          <ac:picMkLst>
            <pc:docMk/>
            <pc:sldMk cId="730125585" sldId="353"/>
            <ac:picMk id="179" creationId="{317B9721-6063-F0AD-407E-3C1791F75E76}"/>
          </ac:picMkLst>
        </pc:picChg>
        <pc:picChg chg="mod ord">
          <ac:chgData name="Ryterski Finn (HNE US-MI-PB-BO)" userId="efff052d-68b9-4e8d-b65b-45dff653056d" providerId="ADAL" clId="{4E77B3E1-3366-4E21-A4A0-00058AAC76A0}" dt="2025-04-15T08:55:24.989" v="2165"/>
          <ac:picMkLst>
            <pc:docMk/>
            <pc:sldMk cId="730125585" sldId="353"/>
            <ac:picMk id="181" creationId="{6373F705-47B2-6EE6-9762-9605FAD5AB16}"/>
          </ac:picMkLst>
        </pc:picChg>
        <pc:picChg chg="mod ord">
          <ac:chgData name="Ryterski Finn (HNE US-MI-PB-BO)" userId="efff052d-68b9-4e8d-b65b-45dff653056d" providerId="ADAL" clId="{4E77B3E1-3366-4E21-A4A0-00058AAC76A0}" dt="2025-04-15T08:55:24.989" v="2165"/>
          <ac:picMkLst>
            <pc:docMk/>
            <pc:sldMk cId="730125585" sldId="353"/>
            <ac:picMk id="183" creationId="{211835B0-0287-78FA-C678-6521A0CA49C5}"/>
          </ac:picMkLst>
        </pc:picChg>
        <pc:picChg chg="mod ord">
          <ac:chgData name="Ryterski Finn (HNE US-MI-PB-BO)" userId="efff052d-68b9-4e8d-b65b-45dff653056d" providerId="ADAL" clId="{4E77B3E1-3366-4E21-A4A0-00058AAC76A0}" dt="2025-04-15T08:55:24.989" v="2165"/>
          <ac:picMkLst>
            <pc:docMk/>
            <pc:sldMk cId="730125585" sldId="353"/>
            <ac:picMk id="185" creationId="{7F406D58-B2E7-26D5-ABFC-42CB15430E32}"/>
          </ac:picMkLst>
        </pc:picChg>
        <pc:picChg chg="mod ord">
          <ac:chgData name="Ryterski Finn (HNE US-MI-PB-BO)" userId="efff052d-68b9-4e8d-b65b-45dff653056d" providerId="ADAL" clId="{4E77B3E1-3366-4E21-A4A0-00058AAC76A0}" dt="2025-04-15T08:55:24.989" v="2165"/>
          <ac:picMkLst>
            <pc:docMk/>
            <pc:sldMk cId="730125585" sldId="353"/>
            <ac:picMk id="187" creationId="{21EE74CE-7A48-C4F7-5660-08D3AAA21BF1}"/>
          </ac:picMkLst>
        </pc:picChg>
      </pc:sldChg>
      <pc:sldChg chg="delSp modSp add del mod">
        <pc:chgData name="Ryterski Finn (HNE US-MI-PB-BO)" userId="efff052d-68b9-4e8d-b65b-45dff653056d" providerId="ADAL" clId="{4E77B3E1-3366-4E21-A4A0-00058AAC76A0}" dt="2025-04-15T08:00:38.588" v="662" actId="47"/>
        <pc:sldMkLst>
          <pc:docMk/>
          <pc:sldMk cId="2499448921" sldId="777"/>
        </pc:sldMkLst>
        <pc:spChg chg="mod">
          <ac:chgData name="Ryterski Finn (HNE US-MI-PB-BO)" userId="efff052d-68b9-4e8d-b65b-45dff653056d" providerId="ADAL" clId="{4E77B3E1-3366-4E21-A4A0-00058AAC76A0}" dt="2025-04-15T07:48:12.742" v="139" actId="948"/>
          <ac:spMkLst>
            <pc:docMk/>
            <pc:sldMk cId="2499448921" sldId="777"/>
            <ac:spMk id="5" creationId="{00000000-0000-0000-0000-000000000000}"/>
          </ac:spMkLst>
        </pc:spChg>
        <pc:spChg chg="del mod">
          <ac:chgData name="Ryterski Finn (HNE US-MI-PB-BO)" userId="efff052d-68b9-4e8d-b65b-45dff653056d" providerId="ADAL" clId="{4E77B3E1-3366-4E21-A4A0-00058AAC76A0}" dt="2025-04-15T07:48:22.836" v="143" actId="478"/>
          <ac:spMkLst>
            <pc:docMk/>
            <pc:sldMk cId="2499448921" sldId="777"/>
            <ac:spMk id="19" creationId="{238461AB-6186-F5C1-C008-8376DB78823B}"/>
          </ac:spMkLst>
        </pc:spChg>
        <pc:graphicFrameChg chg="mod">
          <ac:chgData name="Ryterski Finn (HNE US-MI-PB-BO)" userId="efff052d-68b9-4e8d-b65b-45dff653056d" providerId="ADAL" clId="{4E77B3E1-3366-4E21-A4A0-00058AAC76A0}" dt="2025-04-15T07:48:12.749" v="141"/>
          <ac:graphicFrameMkLst>
            <pc:docMk/>
            <pc:sldMk cId="2499448921" sldId="777"/>
            <ac:graphicFrameMk id="8" creationId="{03918559-E08C-74AA-2A79-286FC666477F}"/>
          </ac:graphicFrameMkLst>
        </pc:graphicFrameChg>
      </pc:sldChg>
      <pc:sldChg chg="del">
        <pc:chgData name="Ryterski Finn (HNE US-MI-PB-BO)" userId="efff052d-68b9-4e8d-b65b-45dff653056d" providerId="ADAL" clId="{4E77B3E1-3366-4E21-A4A0-00058AAC76A0}" dt="2025-04-15T07:41:22.150" v="11" actId="47"/>
        <pc:sldMkLst>
          <pc:docMk/>
          <pc:sldMk cId="2232075066" sldId="991"/>
        </pc:sldMkLst>
      </pc:sldChg>
      <pc:sldChg chg="modSp mod">
        <pc:chgData name="Ryterski Finn (HNE US-MI-PB-BO)" userId="efff052d-68b9-4e8d-b65b-45dff653056d" providerId="ADAL" clId="{4E77B3E1-3366-4E21-A4A0-00058AAC76A0}" dt="2025-04-15T12:29:27.074" v="4582" actId="20577"/>
        <pc:sldMkLst>
          <pc:docMk/>
          <pc:sldMk cId="2747648410" sldId="1008"/>
        </pc:sldMkLst>
        <pc:spChg chg="mod">
          <ac:chgData name="Ryterski Finn (HNE US-MI-PB-BO)" userId="efff052d-68b9-4e8d-b65b-45dff653056d" providerId="ADAL" clId="{4E77B3E1-3366-4E21-A4A0-00058AAC76A0}" dt="2025-04-15T12:29:27.074" v="4582" actId="20577"/>
          <ac:spMkLst>
            <pc:docMk/>
            <pc:sldMk cId="2747648410" sldId="1008"/>
            <ac:spMk id="2" creationId="{B4A7C721-509F-47E8-BE23-E19529987347}"/>
          </ac:spMkLst>
        </pc:spChg>
        <pc:spChg chg="mod">
          <ac:chgData name="Ryterski Finn (HNE US-MI-PB-BO)" userId="efff052d-68b9-4e8d-b65b-45dff653056d" providerId="ADAL" clId="{4E77B3E1-3366-4E21-A4A0-00058AAC76A0}" dt="2025-04-15T12:29:15.840" v="4579" actId="14100"/>
          <ac:spMkLst>
            <pc:docMk/>
            <pc:sldMk cId="2747648410" sldId="1008"/>
            <ac:spMk id="9" creationId="{43669EF4-1A9D-2F6B-9358-C02C07B2052A}"/>
          </ac:spMkLst>
        </pc:spChg>
      </pc:sldChg>
      <pc:sldChg chg="modSp del mod ord">
        <pc:chgData name="Ryterski Finn (HNE US-MI-PB-BO)" userId="efff052d-68b9-4e8d-b65b-45dff653056d" providerId="ADAL" clId="{4E77B3E1-3366-4E21-A4A0-00058AAC76A0}" dt="2025-04-15T10:41:48.329" v="2895" actId="47"/>
        <pc:sldMkLst>
          <pc:docMk/>
          <pc:sldMk cId="2801118348" sldId="1011"/>
        </pc:sldMkLst>
        <pc:spChg chg="mod">
          <ac:chgData name="Ryterski Finn (HNE US-MI-PB-BO)" userId="efff052d-68b9-4e8d-b65b-45dff653056d" providerId="ADAL" clId="{4E77B3E1-3366-4E21-A4A0-00058AAC76A0}" dt="2025-04-15T08:00:57.725" v="689" actId="20577"/>
          <ac:spMkLst>
            <pc:docMk/>
            <pc:sldMk cId="2801118348" sldId="1011"/>
            <ac:spMk id="8" creationId="{43F85427-270D-1FA5-875B-F7A12023A0C5}"/>
          </ac:spMkLst>
        </pc:spChg>
      </pc:sldChg>
      <pc:sldChg chg="del">
        <pc:chgData name="Ryterski Finn (HNE US-MI-PB-BO)" userId="efff052d-68b9-4e8d-b65b-45dff653056d" providerId="ADAL" clId="{4E77B3E1-3366-4E21-A4A0-00058AAC76A0}" dt="2025-04-15T07:41:20.859" v="10" actId="47"/>
        <pc:sldMkLst>
          <pc:docMk/>
          <pc:sldMk cId="326290237" sldId="1012"/>
        </pc:sldMkLst>
      </pc:sldChg>
      <pc:sldChg chg="addSp delSp modSp mod">
        <pc:chgData name="Ryterski Finn (HNE US-MI-PB-BO)" userId="efff052d-68b9-4e8d-b65b-45dff653056d" providerId="ADAL" clId="{4E77B3E1-3366-4E21-A4A0-00058AAC76A0}" dt="2025-04-15T14:41:23.042" v="6938"/>
        <pc:sldMkLst>
          <pc:docMk/>
          <pc:sldMk cId="4205305038" sldId="4109"/>
        </pc:sldMkLst>
        <pc:spChg chg="mod">
          <ac:chgData name="Ryterski Finn (HNE US-MI-PB-BO)" userId="efff052d-68b9-4e8d-b65b-45dff653056d" providerId="ADAL" clId="{4E77B3E1-3366-4E21-A4A0-00058AAC76A0}" dt="2025-04-15T13:56:14.873" v="5845" actId="1076"/>
          <ac:spMkLst>
            <pc:docMk/>
            <pc:sldMk cId="4205305038" sldId="4109"/>
            <ac:spMk id="4" creationId="{40B802DF-9502-3C9C-3418-DA33A8BF180E}"/>
          </ac:spMkLst>
        </pc:spChg>
        <pc:spChg chg="mod">
          <ac:chgData name="Ryterski Finn (HNE US-MI-PB-BO)" userId="efff052d-68b9-4e8d-b65b-45dff653056d" providerId="ADAL" clId="{4E77B3E1-3366-4E21-A4A0-00058AAC76A0}" dt="2025-04-15T08:58:34.344" v="2524" actId="948"/>
          <ac:spMkLst>
            <pc:docMk/>
            <pc:sldMk cId="4205305038" sldId="4109"/>
            <ac:spMk id="5" creationId="{00000000-0000-0000-0000-000000000000}"/>
          </ac:spMkLst>
        </pc:spChg>
        <pc:spChg chg="mod">
          <ac:chgData name="Ryterski Finn (HNE US-MI-PB-BO)" userId="efff052d-68b9-4e8d-b65b-45dff653056d" providerId="ADAL" clId="{4E77B3E1-3366-4E21-A4A0-00058AAC76A0}" dt="2025-04-15T13:56:14.873" v="5845" actId="1076"/>
          <ac:spMkLst>
            <pc:docMk/>
            <pc:sldMk cId="4205305038" sldId="4109"/>
            <ac:spMk id="6" creationId="{1E0331B2-82E1-B647-89E7-DA3E5B7BBC3F}"/>
          </ac:spMkLst>
        </pc:spChg>
        <pc:spChg chg="mod">
          <ac:chgData name="Ryterski Finn (HNE US-MI-PB-BO)" userId="efff052d-68b9-4e8d-b65b-45dff653056d" providerId="ADAL" clId="{4E77B3E1-3366-4E21-A4A0-00058AAC76A0}" dt="2025-04-15T13:56:14.873" v="5845" actId="1076"/>
          <ac:spMkLst>
            <pc:docMk/>
            <pc:sldMk cId="4205305038" sldId="4109"/>
            <ac:spMk id="7" creationId="{6FE81465-32AD-F924-DB58-6A9465F006DF}"/>
          </ac:spMkLst>
        </pc:spChg>
        <pc:spChg chg="del mod">
          <ac:chgData name="Ryterski Finn (HNE US-MI-PB-BO)" userId="efff052d-68b9-4e8d-b65b-45dff653056d" providerId="ADAL" clId="{4E77B3E1-3366-4E21-A4A0-00058AAC76A0}" dt="2025-04-15T08:40:40.233" v="1757" actId="478"/>
          <ac:spMkLst>
            <pc:docMk/>
            <pc:sldMk cId="4205305038" sldId="4109"/>
            <ac:spMk id="8" creationId="{7B24CA1D-AB8E-ACB1-9DAB-4101D56EC677}"/>
          </ac:spMkLst>
        </pc:spChg>
        <pc:spChg chg="add mod">
          <ac:chgData name="Ryterski Finn (HNE US-MI-PB-BO)" userId="efff052d-68b9-4e8d-b65b-45dff653056d" providerId="ADAL" clId="{4E77B3E1-3366-4E21-A4A0-00058AAC76A0}" dt="2025-04-15T14:41:23.042" v="6938"/>
          <ac:spMkLst>
            <pc:docMk/>
            <pc:sldMk cId="4205305038" sldId="4109"/>
            <ac:spMk id="8" creationId="{D6CDA88B-0127-7F82-E74E-EE4FC75CD7A9}"/>
          </ac:spMkLst>
        </pc:spChg>
        <pc:spChg chg="del mod">
          <ac:chgData name="Ryterski Finn (HNE US-MI-PB-BO)" userId="efff052d-68b9-4e8d-b65b-45dff653056d" providerId="ADAL" clId="{4E77B3E1-3366-4E21-A4A0-00058AAC76A0}" dt="2025-04-15T08:40:38.330" v="1755" actId="478"/>
          <ac:spMkLst>
            <pc:docMk/>
            <pc:sldMk cId="4205305038" sldId="4109"/>
            <ac:spMk id="9" creationId="{42DC99A5-BE39-1817-1722-94F3CA33CA83}"/>
          </ac:spMkLst>
        </pc:spChg>
        <pc:spChg chg="mod">
          <ac:chgData name="Ryterski Finn (HNE US-MI-PB-BO)" userId="efff052d-68b9-4e8d-b65b-45dff653056d" providerId="ADAL" clId="{4E77B3E1-3366-4E21-A4A0-00058AAC76A0}" dt="2025-04-15T13:56:14.873" v="5845" actId="1076"/>
          <ac:spMkLst>
            <pc:docMk/>
            <pc:sldMk cId="4205305038" sldId="4109"/>
            <ac:spMk id="14" creationId="{F28BE4D0-4A41-47E1-FA0F-B3D7C4F01B2D}"/>
          </ac:spMkLst>
        </pc:spChg>
        <pc:spChg chg="mod">
          <ac:chgData name="Ryterski Finn (HNE US-MI-PB-BO)" userId="efff052d-68b9-4e8d-b65b-45dff653056d" providerId="ADAL" clId="{4E77B3E1-3366-4E21-A4A0-00058AAC76A0}" dt="2025-04-15T08:40:47.198" v="1759" actId="1076"/>
          <ac:spMkLst>
            <pc:docMk/>
            <pc:sldMk cId="4205305038" sldId="4109"/>
            <ac:spMk id="15" creationId="{70EF9389-300A-33A4-76A5-CEE2649F7A4D}"/>
          </ac:spMkLst>
        </pc:spChg>
        <pc:spChg chg="mod">
          <ac:chgData name="Ryterski Finn (HNE US-MI-PB-BO)" userId="efff052d-68b9-4e8d-b65b-45dff653056d" providerId="ADAL" clId="{4E77B3E1-3366-4E21-A4A0-00058AAC76A0}" dt="2025-04-15T08:40:47.198" v="1759" actId="1076"/>
          <ac:spMkLst>
            <pc:docMk/>
            <pc:sldMk cId="4205305038" sldId="4109"/>
            <ac:spMk id="20" creationId="{7C3EF63E-B494-EB7A-2A51-BD119C8316B1}"/>
          </ac:spMkLst>
        </pc:spChg>
        <pc:spChg chg="mod">
          <ac:chgData name="Ryterski Finn (HNE US-MI-PB-BO)" userId="efff052d-68b9-4e8d-b65b-45dff653056d" providerId="ADAL" clId="{4E77B3E1-3366-4E21-A4A0-00058AAC76A0}" dt="2025-04-15T13:56:14.873" v="5845" actId="1076"/>
          <ac:spMkLst>
            <pc:docMk/>
            <pc:sldMk cId="4205305038" sldId="4109"/>
            <ac:spMk id="21" creationId="{9CDFEEBD-ADA7-5C9B-FC79-30FD168BCFC7}"/>
          </ac:spMkLst>
        </pc:spChg>
        <pc:spChg chg="mod">
          <ac:chgData name="Ryterski Finn (HNE US-MI-PB-BO)" userId="efff052d-68b9-4e8d-b65b-45dff653056d" providerId="ADAL" clId="{4E77B3E1-3366-4E21-A4A0-00058AAC76A0}" dt="2025-04-15T13:56:14.873" v="5845" actId="1076"/>
          <ac:spMkLst>
            <pc:docMk/>
            <pc:sldMk cId="4205305038" sldId="4109"/>
            <ac:spMk id="22" creationId="{EA4C331A-6444-8E81-23AE-588C097EE523}"/>
          </ac:spMkLst>
        </pc:spChg>
        <pc:graphicFrameChg chg="mod">
          <ac:chgData name="Ryterski Finn (HNE US-MI-PB-BO)" userId="efff052d-68b9-4e8d-b65b-45dff653056d" providerId="ADAL" clId="{4E77B3E1-3366-4E21-A4A0-00058AAC76A0}" dt="2025-04-15T08:58:34.349" v="2526"/>
          <ac:graphicFrameMkLst>
            <pc:docMk/>
            <pc:sldMk cId="4205305038" sldId="4109"/>
            <ac:graphicFrameMk id="84" creationId="{00000000-0000-0000-0000-000000000000}"/>
          </ac:graphicFrameMkLst>
        </pc:graphicFrameChg>
      </pc:sldChg>
      <pc:sldChg chg="del">
        <pc:chgData name="Ryterski Finn (HNE US-MI-PB-BO)" userId="efff052d-68b9-4e8d-b65b-45dff653056d" providerId="ADAL" clId="{4E77B3E1-3366-4E21-A4A0-00058AAC76A0}" dt="2025-04-15T14:31:25.378" v="6809" actId="47"/>
        <pc:sldMkLst>
          <pc:docMk/>
          <pc:sldMk cId="1363194611" sldId="4132"/>
        </pc:sldMkLst>
      </pc:sldChg>
      <pc:sldChg chg="del">
        <pc:chgData name="Ryterski Finn (HNE US-MI-PB-BO)" userId="efff052d-68b9-4e8d-b65b-45dff653056d" providerId="ADAL" clId="{4E77B3E1-3366-4E21-A4A0-00058AAC76A0}" dt="2025-04-15T07:46:37.225" v="113" actId="47"/>
        <pc:sldMkLst>
          <pc:docMk/>
          <pc:sldMk cId="979980158" sldId="4168"/>
        </pc:sldMkLst>
      </pc:sldChg>
      <pc:sldChg chg="del">
        <pc:chgData name="Ryterski Finn (HNE US-MI-PB-BO)" userId="efff052d-68b9-4e8d-b65b-45dff653056d" providerId="ADAL" clId="{4E77B3E1-3366-4E21-A4A0-00058AAC76A0}" dt="2025-04-15T07:41:14.256" v="5" actId="47"/>
        <pc:sldMkLst>
          <pc:docMk/>
          <pc:sldMk cId="354232435" sldId="4173"/>
        </pc:sldMkLst>
      </pc:sldChg>
      <pc:sldChg chg="del">
        <pc:chgData name="Ryterski Finn (HNE US-MI-PB-BO)" userId="efff052d-68b9-4e8d-b65b-45dff653056d" providerId="ADAL" clId="{4E77B3E1-3366-4E21-A4A0-00058AAC76A0}" dt="2025-04-15T07:41:15.791" v="7" actId="47"/>
        <pc:sldMkLst>
          <pc:docMk/>
          <pc:sldMk cId="2014990854" sldId="4178"/>
        </pc:sldMkLst>
      </pc:sldChg>
      <pc:sldChg chg="del">
        <pc:chgData name="Ryterski Finn (HNE US-MI-PB-BO)" userId="efff052d-68b9-4e8d-b65b-45dff653056d" providerId="ADAL" clId="{4E77B3E1-3366-4E21-A4A0-00058AAC76A0}" dt="2025-04-15T07:41:18.437" v="9" actId="47"/>
        <pc:sldMkLst>
          <pc:docMk/>
          <pc:sldMk cId="2445297191" sldId="4180"/>
        </pc:sldMkLst>
      </pc:sldChg>
      <pc:sldChg chg="del">
        <pc:chgData name="Ryterski Finn (HNE US-MI-PB-BO)" userId="efff052d-68b9-4e8d-b65b-45dff653056d" providerId="ADAL" clId="{4E77B3E1-3366-4E21-A4A0-00058AAC76A0}" dt="2025-04-15T07:41:12.603" v="3" actId="47"/>
        <pc:sldMkLst>
          <pc:docMk/>
          <pc:sldMk cId="229985416" sldId="4186"/>
        </pc:sldMkLst>
      </pc:sldChg>
      <pc:sldChg chg="del">
        <pc:chgData name="Ryterski Finn (HNE US-MI-PB-BO)" userId="efff052d-68b9-4e8d-b65b-45dff653056d" providerId="ADAL" clId="{4E77B3E1-3366-4E21-A4A0-00058AAC76A0}" dt="2025-04-15T07:41:11.703" v="2" actId="47"/>
        <pc:sldMkLst>
          <pc:docMk/>
          <pc:sldMk cId="1570315638" sldId="4187"/>
        </pc:sldMkLst>
      </pc:sldChg>
      <pc:sldChg chg="del">
        <pc:chgData name="Ryterski Finn (HNE US-MI-PB-BO)" userId="efff052d-68b9-4e8d-b65b-45dff653056d" providerId="ADAL" clId="{4E77B3E1-3366-4E21-A4A0-00058AAC76A0}" dt="2025-04-15T07:41:15.167" v="6" actId="47"/>
        <pc:sldMkLst>
          <pc:docMk/>
          <pc:sldMk cId="807782997" sldId="4188"/>
        </pc:sldMkLst>
      </pc:sldChg>
      <pc:sldChg chg="del">
        <pc:chgData name="Ryterski Finn (HNE US-MI-PB-BO)" userId="efff052d-68b9-4e8d-b65b-45dff653056d" providerId="ADAL" clId="{4E77B3E1-3366-4E21-A4A0-00058AAC76A0}" dt="2025-04-15T07:41:10.306" v="1" actId="47"/>
        <pc:sldMkLst>
          <pc:docMk/>
          <pc:sldMk cId="2825979349" sldId="4190"/>
        </pc:sldMkLst>
      </pc:sldChg>
      <pc:sldChg chg="del">
        <pc:chgData name="Ryterski Finn (HNE US-MI-PB-BO)" userId="efff052d-68b9-4e8d-b65b-45dff653056d" providerId="ADAL" clId="{4E77B3E1-3366-4E21-A4A0-00058AAC76A0}" dt="2025-04-15T07:41:17.298" v="8" actId="47"/>
        <pc:sldMkLst>
          <pc:docMk/>
          <pc:sldMk cId="1199229873" sldId="4191"/>
        </pc:sldMkLst>
      </pc:sldChg>
      <pc:sldChg chg="del">
        <pc:chgData name="Ryterski Finn (HNE US-MI-PB-BO)" userId="efff052d-68b9-4e8d-b65b-45dff653056d" providerId="ADAL" clId="{4E77B3E1-3366-4E21-A4A0-00058AAC76A0}" dt="2025-04-15T09:00:05.394" v="2645" actId="47"/>
        <pc:sldMkLst>
          <pc:docMk/>
          <pc:sldMk cId="2423477943" sldId="4192"/>
        </pc:sldMkLst>
      </pc:sldChg>
      <pc:sldChg chg="addSp delSp modSp new mod ord">
        <pc:chgData name="Ryterski Finn (HNE US-MI-PB-BO)" userId="efff052d-68b9-4e8d-b65b-45dff653056d" providerId="ADAL" clId="{4E77B3E1-3366-4E21-A4A0-00058AAC76A0}" dt="2025-04-16T08:31:56.315" v="7021" actId="20577"/>
        <pc:sldMkLst>
          <pc:docMk/>
          <pc:sldMk cId="1310280941" sldId="4193"/>
        </pc:sldMkLst>
        <pc:spChg chg="mod ord">
          <ac:chgData name="Ryterski Finn (HNE US-MI-PB-BO)" userId="efff052d-68b9-4e8d-b65b-45dff653056d" providerId="ADAL" clId="{4E77B3E1-3366-4E21-A4A0-00058AAC76A0}" dt="2025-04-15T12:10:07.653" v="3806"/>
          <ac:spMkLst>
            <pc:docMk/>
            <pc:sldMk cId="1310280941" sldId="4193"/>
            <ac:spMk id="2" creationId="{1C7CFCB7-69CC-DC32-D38B-4C2AF15B1547}"/>
          </ac:spMkLst>
        </pc:spChg>
        <pc:spChg chg="add mod ord">
          <ac:chgData name="Ryterski Finn (HNE US-MI-PB-BO)" userId="efff052d-68b9-4e8d-b65b-45dff653056d" providerId="ADAL" clId="{4E77B3E1-3366-4E21-A4A0-00058AAC76A0}" dt="2025-04-15T12:38:19.670" v="4770" actId="1037"/>
          <ac:spMkLst>
            <pc:docMk/>
            <pc:sldMk cId="1310280941" sldId="4193"/>
            <ac:spMk id="3" creationId="{09D2D280-155D-8CCB-D3B1-FCC945358655}"/>
          </ac:spMkLst>
        </pc:spChg>
        <pc:spChg chg="del">
          <ac:chgData name="Ryterski Finn (HNE US-MI-PB-BO)" userId="efff052d-68b9-4e8d-b65b-45dff653056d" providerId="ADAL" clId="{4E77B3E1-3366-4E21-A4A0-00058AAC76A0}" dt="2025-04-15T07:51:08.786" v="280" actId="478"/>
          <ac:spMkLst>
            <pc:docMk/>
            <pc:sldMk cId="1310280941" sldId="4193"/>
            <ac:spMk id="3" creationId="{75150B82-DA31-7E95-BA69-2BF3286361CB}"/>
          </ac:spMkLst>
        </pc:spChg>
        <pc:spChg chg="del mod ord">
          <ac:chgData name="Ryterski Finn (HNE US-MI-PB-BO)" userId="efff052d-68b9-4e8d-b65b-45dff653056d" providerId="ADAL" clId="{4E77B3E1-3366-4E21-A4A0-00058AAC76A0}" dt="2025-04-15T07:56:58.522" v="485" actId="478"/>
          <ac:spMkLst>
            <pc:docMk/>
            <pc:sldMk cId="1310280941" sldId="4193"/>
            <ac:spMk id="4" creationId="{D6A26C99-44BE-04F9-91BA-2F4252C69081}"/>
          </ac:spMkLst>
        </pc:spChg>
        <pc:spChg chg="add del mod ord">
          <ac:chgData name="Ryterski Finn (HNE US-MI-PB-BO)" userId="efff052d-68b9-4e8d-b65b-45dff653056d" providerId="ADAL" clId="{4E77B3E1-3366-4E21-A4A0-00058AAC76A0}" dt="2025-04-15T13:03:12.642" v="5360" actId="478"/>
          <ac:spMkLst>
            <pc:docMk/>
            <pc:sldMk cId="1310280941" sldId="4193"/>
            <ac:spMk id="5" creationId="{27FDDE3D-2C3E-BE6E-BB15-83C5F69814EE}"/>
          </ac:spMkLst>
        </pc:spChg>
        <pc:spChg chg="add del mod ord">
          <ac:chgData name="Ryterski Finn (HNE US-MI-PB-BO)" userId="efff052d-68b9-4e8d-b65b-45dff653056d" providerId="ADAL" clId="{4E77B3E1-3366-4E21-A4A0-00058AAC76A0}" dt="2025-04-15T12:09:47.435" v="3754" actId="478"/>
          <ac:spMkLst>
            <pc:docMk/>
            <pc:sldMk cId="1310280941" sldId="4193"/>
            <ac:spMk id="6" creationId="{6A2A71CF-F835-C7AC-DEE5-F3E46E88AFC5}"/>
          </ac:spMkLst>
        </pc:spChg>
        <pc:spChg chg="add mod ord">
          <ac:chgData name="Ryterski Finn (HNE US-MI-PB-BO)" userId="efff052d-68b9-4e8d-b65b-45dff653056d" providerId="ADAL" clId="{4E77B3E1-3366-4E21-A4A0-00058AAC76A0}" dt="2025-04-15T12:41:41.486" v="4850" actId="1036"/>
          <ac:spMkLst>
            <pc:docMk/>
            <pc:sldMk cId="1310280941" sldId="4193"/>
            <ac:spMk id="7" creationId="{E7AA6415-FED0-65D8-DFB1-D8337595831B}"/>
          </ac:spMkLst>
        </pc:spChg>
        <pc:spChg chg="add mod">
          <ac:chgData name="Ryterski Finn (HNE US-MI-PB-BO)" userId="efff052d-68b9-4e8d-b65b-45dff653056d" providerId="ADAL" clId="{4E77B3E1-3366-4E21-A4A0-00058AAC76A0}" dt="2025-04-15T12:11:07.964" v="3853" actId="1076"/>
          <ac:spMkLst>
            <pc:docMk/>
            <pc:sldMk cId="1310280941" sldId="4193"/>
            <ac:spMk id="8" creationId="{74E6D30A-A5B2-A215-16E9-B9C6B7E96C01}"/>
          </ac:spMkLst>
        </pc:spChg>
        <pc:spChg chg="add del mod">
          <ac:chgData name="Ryterski Finn (HNE US-MI-PB-BO)" userId="efff052d-68b9-4e8d-b65b-45dff653056d" providerId="ADAL" clId="{4E77B3E1-3366-4E21-A4A0-00058AAC76A0}" dt="2025-04-15T07:51:05.657" v="276" actId="478"/>
          <ac:spMkLst>
            <pc:docMk/>
            <pc:sldMk cId="1310280941" sldId="4193"/>
            <ac:spMk id="8" creationId="{C2965808-1B61-7D1B-8A38-F68EA9217943}"/>
          </ac:spMkLst>
        </pc:spChg>
        <pc:spChg chg="add del mod">
          <ac:chgData name="Ryterski Finn (HNE US-MI-PB-BO)" userId="efff052d-68b9-4e8d-b65b-45dff653056d" providerId="ADAL" clId="{4E77B3E1-3366-4E21-A4A0-00058AAC76A0}" dt="2025-04-15T07:51:05.657" v="276" actId="478"/>
          <ac:spMkLst>
            <pc:docMk/>
            <pc:sldMk cId="1310280941" sldId="4193"/>
            <ac:spMk id="10" creationId="{74DE267B-9689-B8A4-CC7C-AFFBB686F9BD}"/>
          </ac:spMkLst>
        </pc:spChg>
        <pc:spChg chg="add mod">
          <ac:chgData name="Ryterski Finn (HNE US-MI-PB-BO)" userId="efff052d-68b9-4e8d-b65b-45dff653056d" providerId="ADAL" clId="{4E77B3E1-3366-4E21-A4A0-00058AAC76A0}" dt="2025-04-16T08:31:56.315" v="7021" actId="20577"/>
          <ac:spMkLst>
            <pc:docMk/>
            <pc:sldMk cId="1310280941" sldId="4193"/>
            <ac:spMk id="11" creationId="{D102EB2D-B7A8-930C-A2E5-7B9AD38ECD06}"/>
          </ac:spMkLst>
        </pc:spChg>
        <pc:spChg chg="add del mod">
          <ac:chgData name="Ryterski Finn (HNE US-MI-PB-BO)" userId="efff052d-68b9-4e8d-b65b-45dff653056d" providerId="ADAL" clId="{4E77B3E1-3366-4E21-A4A0-00058AAC76A0}" dt="2025-04-15T07:51:05.657" v="276" actId="478"/>
          <ac:spMkLst>
            <pc:docMk/>
            <pc:sldMk cId="1310280941" sldId="4193"/>
            <ac:spMk id="11" creationId="{E6A05125-05B5-42DB-DA5C-D4F65B35DFA1}"/>
          </ac:spMkLst>
        </pc:spChg>
        <pc:spChg chg="add del mod ord">
          <ac:chgData name="Ryterski Finn (HNE US-MI-PB-BO)" userId="efff052d-68b9-4e8d-b65b-45dff653056d" providerId="ADAL" clId="{4E77B3E1-3366-4E21-A4A0-00058AAC76A0}" dt="2025-04-15T07:58:12.680" v="633" actId="478"/>
          <ac:spMkLst>
            <pc:docMk/>
            <pc:sldMk cId="1310280941" sldId="4193"/>
            <ac:spMk id="13" creationId="{2A884A26-084A-AAD3-2A14-F94033FD4496}"/>
          </ac:spMkLst>
        </pc:spChg>
        <pc:spChg chg="add mod">
          <ac:chgData name="Ryterski Finn (HNE US-MI-PB-BO)" userId="efff052d-68b9-4e8d-b65b-45dff653056d" providerId="ADAL" clId="{4E77B3E1-3366-4E21-A4A0-00058AAC76A0}" dt="2025-04-15T14:53:40.069" v="6989" actId="20577"/>
          <ac:spMkLst>
            <pc:docMk/>
            <pc:sldMk cId="1310280941" sldId="4193"/>
            <ac:spMk id="13" creationId="{4C1E948B-C4BB-0372-08FB-314573378267}"/>
          </ac:spMkLst>
        </pc:spChg>
        <pc:spChg chg="add del mod">
          <ac:chgData name="Ryterski Finn (HNE US-MI-PB-BO)" userId="efff052d-68b9-4e8d-b65b-45dff653056d" providerId="ADAL" clId="{4E77B3E1-3366-4E21-A4A0-00058AAC76A0}" dt="2025-04-15T07:51:07.753" v="278" actId="478"/>
          <ac:spMkLst>
            <pc:docMk/>
            <pc:sldMk cId="1310280941" sldId="4193"/>
            <ac:spMk id="15" creationId="{A7BC039A-121A-7CF4-A7FD-411A753AEC31}"/>
          </ac:spMkLst>
        </pc:spChg>
        <pc:spChg chg="add mod">
          <ac:chgData name="Ryterski Finn (HNE US-MI-PB-BO)" userId="efff052d-68b9-4e8d-b65b-45dff653056d" providerId="ADAL" clId="{4E77B3E1-3366-4E21-A4A0-00058AAC76A0}" dt="2025-04-15T12:38:19.670" v="4770" actId="1037"/>
          <ac:spMkLst>
            <pc:docMk/>
            <pc:sldMk cId="1310280941" sldId="4193"/>
            <ac:spMk id="16" creationId="{121CDA5D-8F14-2D26-B4F2-B7441E0B50FE}"/>
          </ac:spMkLst>
        </pc:spChg>
        <pc:spChg chg="add del mod topLvl">
          <ac:chgData name="Ryterski Finn (HNE US-MI-PB-BO)" userId="efff052d-68b9-4e8d-b65b-45dff653056d" providerId="ADAL" clId="{4E77B3E1-3366-4E21-A4A0-00058AAC76A0}" dt="2025-04-15T07:51:08.089" v="279" actId="478"/>
          <ac:spMkLst>
            <pc:docMk/>
            <pc:sldMk cId="1310280941" sldId="4193"/>
            <ac:spMk id="16" creationId="{59C49F82-E2D7-DD45-D1FB-93788EEF208C}"/>
          </ac:spMkLst>
        </pc:spChg>
        <pc:spChg chg="add mod">
          <ac:chgData name="Ryterski Finn (HNE US-MI-PB-BO)" userId="efff052d-68b9-4e8d-b65b-45dff653056d" providerId="ADAL" clId="{4E77B3E1-3366-4E21-A4A0-00058AAC76A0}" dt="2025-04-15T14:53:47.412" v="6990" actId="1076"/>
          <ac:spMkLst>
            <pc:docMk/>
            <pc:sldMk cId="1310280941" sldId="4193"/>
            <ac:spMk id="18" creationId="{5E099DA6-4B35-A5ED-5FB6-9DB8159A909F}"/>
          </ac:spMkLst>
        </pc:spChg>
        <pc:spChg chg="add mod">
          <ac:chgData name="Ryterski Finn (HNE US-MI-PB-BO)" userId="efff052d-68b9-4e8d-b65b-45dff653056d" providerId="ADAL" clId="{4E77B3E1-3366-4E21-A4A0-00058AAC76A0}" dt="2025-04-15T13:03:11.158" v="5359"/>
          <ac:spMkLst>
            <pc:docMk/>
            <pc:sldMk cId="1310280941" sldId="4193"/>
            <ac:spMk id="19" creationId="{092FB193-735F-AB8F-64A2-F9659A5696E4}"/>
          </ac:spMkLst>
        </pc:spChg>
        <pc:spChg chg="mod">
          <ac:chgData name="Ryterski Finn (HNE US-MI-PB-BO)" userId="efff052d-68b9-4e8d-b65b-45dff653056d" providerId="ADAL" clId="{4E77B3E1-3366-4E21-A4A0-00058AAC76A0}" dt="2025-04-15T12:38:19.670" v="4770" actId="1037"/>
          <ac:spMkLst>
            <pc:docMk/>
            <pc:sldMk cId="1310280941" sldId="4193"/>
            <ac:spMk id="21" creationId="{69915DC8-10D1-2E7E-B895-35FF80C34971}"/>
          </ac:spMkLst>
        </pc:spChg>
        <pc:spChg chg="add mod">
          <ac:chgData name="Ryterski Finn (HNE US-MI-PB-BO)" userId="efff052d-68b9-4e8d-b65b-45dff653056d" providerId="ADAL" clId="{4E77B3E1-3366-4E21-A4A0-00058AAC76A0}" dt="2025-04-15T14:41:19.279" v="6937" actId="20577"/>
          <ac:spMkLst>
            <pc:docMk/>
            <pc:sldMk cId="1310280941" sldId="4193"/>
            <ac:spMk id="24" creationId="{6EF21EC0-A509-02BB-164C-BD5183E5D723}"/>
          </ac:spMkLst>
        </pc:spChg>
        <pc:spChg chg="del mod topLvl">
          <ac:chgData name="Ryterski Finn (HNE US-MI-PB-BO)" userId="efff052d-68b9-4e8d-b65b-45dff653056d" providerId="ADAL" clId="{4E77B3E1-3366-4E21-A4A0-00058AAC76A0}" dt="2025-04-15T07:51:39.899" v="286" actId="478"/>
          <ac:spMkLst>
            <pc:docMk/>
            <pc:sldMk cId="1310280941" sldId="4193"/>
            <ac:spMk id="25" creationId="{0FB11A5E-BA05-A599-BEC2-CE61BFD2F289}"/>
          </ac:spMkLst>
        </pc:spChg>
        <pc:spChg chg="add del mod ord">
          <ac:chgData name="Ryterski Finn (HNE US-MI-PB-BO)" userId="efff052d-68b9-4e8d-b65b-45dff653056d" providerId="ADAL" clId="{4E77B3E1-3366-4E21-A4A0-00058AAC76A0}" dt="2025-04-15T12:03:34.660" v="3439" actId="478"/>
          <ac:spMkLst>
            <pc:docMk/>
            <pc:sldMk cId="1310280941" sldId="4193"/>
            <ac:spMk id="27" creationId="{8196F4E7-0656-9DFE-DC84-A2F36325AA7F}"/>
          </ac:spMkLst>
        </pc:spChg>
        <pc:spChg chg="add mod ord">
          <ac:chgData name="Ryterski Finn (HNE US-MI-PB-BO)" userId="efff052d-68b9-4e8d-b65b-45dff653056d" providerId="ADAL" clId="{4E77B3E1-3366-4E21-A4A0-00058AAC76A0}" dt="2025-04-15T12:38:19.670" v="4770" actId="1037"/>
          <ac:spMkLst>
            <pc:docMk/>
            <pc:sldMk cId="1310280941" sldId="4193"/>
            <ac:spMk id="29" creationId="{7FEB0CFF-B126-188C-B381-CA4413170A3A}"/>
          </ac:spMkLst>
        </pc:spChg>
        <pc:spChg chg="add mod ord">
          <ac:chgData name="Ryterski Finn (HNE US-MI-PB-BO)" userId="efff052d-68b9-4e8d-b65b-45dff653056d" providerId="ADAL" clId="{4E77B3E1-3366-4E21-A4A0-00058AAC76A0}" dt="2025-04-15T12:38:19.670" v="4770" actId="1037"/>
          <ac:spMkLst>
            <pc:docMk/>
            <pc:sldMk cId="1310280941" sldId="4193"/>
            <ac:spMk id="31" creationId="{B24779D5-0970-669A-4162-9CD274E6C916}"/>
          </ac:spMkLst>
        </pc:spChg>
        <pc:spChg chg="add mod">
          <ac:chgData name="Ryterski Finn (HNE US-MI-PB-BO)" userId="efff052d-68b9-4e8d-b65b-45dff653056d" providerId="ADAL" clId="{4E77B3E1-3366-4E21-A4A0-00058AAC76A0}" dt="2025-04-15T12:10:07.663" v="3817"/>
          <ac:spMkLst>
            <pc:docMk/>
            <pc:sldMk cId="1310280941" sldId="4193"/>
            <ac:spMk id="37" creationId="{DD51A403-3CAD-5ACE-1CDF-3950B98A7947}"/>
          </ac:spMkLst>
        </pc:spChg>
        <pc:spChg chg="add mod">
          <ac:chgData name="Ryterski Finn (HNE US-MI-PB-BO)" userId="efff052d-68b9-4e8d-b65b-45dff653056d" providerId="ADAL" clId="{4E77B3E1-3366-4E21-A4A0-00058AAC76A0}" dt="2025-04-15T12:39:49.765" v="4830" actId="20577"/>
          <ac:spMkLst>
            <pc:docMk/>
            <pc:sldMk cId="1310280941" sldId="4193"/>
            <ac:spMk id="38" creationId="{DCC24F0C-3B8E-3EFB-F73F-AD4F90E4EF00}"/>
          </ac:spMkLst>
        </pc:spChg>
        <pc:spChg chg="add del mod">
          <ac:chgData name="Ryterski Finn (HNE US-MI-PB-BO)" userId="efff052d-68b9-4e8d-b65b-45dff653056d" providerId="ADAL" clId="{4E77B3E1-3366-4E21-A4A0-00058AAC76A0}" dt="2025-04-15T12:17:09.563" v="4035" actId="478"/>
          <ac:spMkLst>
            <pc:docMk/>
            <pc:sldMk cId="1310280941" sldId="4193"/>
            <ac:spMk id="39" creationId="{6383223B-E258-806D-3527-4751E381B6CC}"/>
          </ac:spMkLst>
        </pc:spChg>
        <pc:spChg chg="add mod">
          <ac:chgData name="Ryterski Finn (HNE US-MI-PB-BO)" userId="efff052d-68b9-4e8d-b65b-45dff653056d" providerId="ADAL" clId="{4E77B3E1-3366-4E21-A4A0-00058AAC76A0}" dt="2025-04-15T14:53:25.236" v="6983" actId="20577"/>
          <ac:spMkLst>
            <pc:docMk/>
            <pc:sldMk cId="1310280941" sldId="4193"/>
            <ac:spMk id="40" creationId="{72191F97-392B-0D25-D9C5-083BFA20DA29}"/>
          </ac:spMkLst>
        </pc:spChg>
        <pc:spChg chg="add del mod">
          <ac:chgData name="Ryterski Finn (HNE US-MI-PB-BO)" userId="efff052d-68b9-4e8d-b65b-45dff653056d" providerId="ADAL" clId="{4E77B3E1-3366-4E21-A4A0-00058AAC76A0}" dt="2025-04-15T12:15:35.335" v="3905" actId="478"/>
          <ac:spMkLst>
            <pc:docMk/>
            <pc:sldMk cId="1310280941" sldId="4193"/>
            <ac:spMk id="41" creationId="{5905BA8D-4E4B-E2A2-2D07-4D5917345265}"/>
          </ac:spMkLst>
        </pc:spChg>
        <pc:spChg chg="add mod">
          <ac:chgData name="Ryterski Finn (HNE US-MI-PB-BO)" userId="efff052d-68b9-4e8d-b65b-45dff653056d" providerId="ADAL" clId="{4E77B3E1-3366-4E21-A4A0-00058AAC76A0}" dt="2025-04-15T08:39:06.268" v="1686"/>
          <ac:spMkLst>
            <pc:docMk/>
            <pc:sldMk cId="1310280941" sldId="4193"/>
            <ac:spMk id="46" creationId="{180FD5F8-DBB7-D37E-DE51-46909F81B25E}"/>
          </ac:spMkLst>
        </pc:spChg>
        <pc:spChg chg="add del mod ord">
          <ac:chgData name="Ryterski Finn (HNE US-MI-PB-BO)" userId="efff052d-68b9-4e8d-b65b-45dff653056d" providerId="ADAL" clId="{4E77B3E1-3366-4E21-A4A0-00058AAC76A0}" dt="2025-04-15T12:41:55.162" v="4852" actId="478"/>
          <ac:spMkLst>
            <pc:docMk/>
            <pc:sldMk cId="1310280941" sldId="4193"/>
            <ac:spMk id="47" creationId="{455D88D3-86D7-AFC5-5D2E-6F7ACB134936}"/>
          </ac:spMkLst>
        </pc:spChg>
        <pc:grpChg chg="add del mod">
          <ac:chgData name="Ryterski Finn (HNE US-MI-PB-BO)" userId="efff052d-68b9-4e8d-b65b-45dff653056d" providerId="ADAL" clId="{4E77B3E1-3366-4E21-A4A0-00058AAC76A0}" dt="2025-04-15T07:49:21.173" v="238" actId="478"/>
          <ac:grpSpMkLst>
            <pc:docMk/>
            <pc:sldMk cId="1310280941" sldId="4193"/>
            <ac:grpSpMk id="14" creationId="{17791A1D-7BF0-30D2-2C5A-D688D5C395C7}"/>
          </ac:grpSpMkLst>
        </pc:grpChg>
        <pc:grpChg chg="add mod ord">
          <ac:chgData name="Ryterski Finn (HNE US-MI-PB-BO)" userId="efff052d-68b9-4e8d-b65b-45dff653056d" providerId="ADAL" clId="{4E77B3E1-3366-4E21-A4A0-00058AAC76A0}" dt="2025-04-15T12:38:19.670" v="4770" actId="1037"/>
          <ac:grpSpMkLst>
            <pc:docMk/>
            <pc:sldMk cId="1310280941" sldId="4193"/>
            <ac:grpSpMk id="20" creationId="{164C8E89-271C-7BB4-09A3-3AB6FCDF652C}"/>
          </ac:grpSpMkLst>
        </pc:grpChg>
        <pc:grpChg chg="add del mod">
          <ac:chgData name="Ryterski Finn (HNE US-MI-PB-BO)" userId="efff052d-68b9-4e8d-b65b-45dff653056d" providerId="ADAL" clId="{4E77B3E1-3366-4E21-A4A0-00058AAC76A0}" dt="2025-04-15T07:51:38.506" v="285" actId="478"/>
          <ac:grpSpMkLst>
            <pc:docMk/>
            <pc:sldMk cId="1310280941" sldId="4193"/>
            <ac:grpSpMk id="24" creationId="{B2CA2A2C-0C19-B25E-E35E-4058C350EAA9}"/>
          </ac:grpSpMkLst>
        </pc:grpChg>
        <pc:graphicFrameChg chg="add mod ord modVis">
          <ac:chgData name="Ryterski Finn (HNE US-MI-PB-BO)" userId="efff052d-68b9-4e8d-b65b-45dff653056d" providerId="ADAL" clId="{4E77B3E1-3366-4E21-A4A0-00058AAC76A0}" dt="2025-04-15T12:10:07.684" v="3843"/>
          <ac:graphicFrameMkLst>
            <pc:docMk/>
            <pc:sldMk cId="1310280941" sldId="4193"/>
            <ac:graphicFrameMk id="12" creationId="{D0D617A6-5AD4-EE50-3C55-0739A6AA364B}"/>
          </ac:graphicFrameMkLst>
        </pc:graphicFrameChg>
        <pc:picChg chg="add mod ord modCrop">
          <ac:chgData name="Ryterski Finn (HNE US-MI-PB-BO)" userId="efff052d-68b9-4e8d-b65b-45dff653056d" providerId="ADAL" clId="{4E77B3E1-3366-4E21-A4A0-00058AAC76A0}" dt="2025-04-15T12:41:19.383" v="4844" actId="732"/>
          <ac:picMkLst>
            <pc:docMk/>
            <pc:sldMk cId="1310280941" sldId="4193"/>
            <ac:picMk id="4" creationId="{B772B3E9-6A66-2A9C-DF1D-754E4440B3F7}"/>
          </ac:picMkLst>
        </pc:picChg>
        <pc:picChg chg="add del mod">
          <ac:chgData name="Ryterski Finn (HNE US-MI-PB-BO)" userId="efff052d-68b9-4e8d-b65b-45dff653056d" providerId="ADAL" clId="{4E77B3E1-3366-4E21-A4A0-00058AAC76A0}" dt="2025-04-15T07:51:05.657" v="276" actId="478"/>
          <ac:picMkLst>
            <pc:docMk/>
            <pc:sldMk cId="1310280941" sldId="4193"/>
            <ac:picMk id="6" creationId="{A036B3A3-CE9D-B680-0A5F-E824767A1F8F}"/>
          </ac:picMkLst>
        </pc:picChg>
        <pc:picChg chg="add del mod">
          <ac:chgData name="Ryterski Finn (HNE US-MI-PB-BO)" userId="efff052d-68b9-4e8d-b65b-45dff653056d" providerId="ADAL" clId="{4E77B3E1-3366-4E21-A4A0-00058AAC76A0}" dt="2025-04-15T07:51:05.657" v="276" actId="478"/>
          <ac:picMkLst>
            <pc:docMk/>
            <pc:sldMk cId="1310280941" sldId="4193"/>
            <ac:picMk id="7" creationId="{73DF6A1E-10E2-C818-4181-E0C7E0C657DE}"/>
          </ac:picMkLst>
        </pc:picChg>
        <pc:picChg chg="add del mod">
          <ac:chgData name="Ryterski Finn (HNE US-MI-PB-BO)" userId="efff052d-68b9-4e8d-b65b-45dff653056d" providerId="ADAL" clId="{4E77B3E1-3366-4E21-A4A0-00058AAC76A0}" dt="2025-04-15T07:51:05.657" v="276" actId="478"/>
          <ac:picMkLst>
            <pc:docMk/>
            <pc:sldMk cId="1310280941" sldId="4193"/>
            <ac:picMk id="9" creationId="{2943EF0A-61BE-FCB8-90E0-320F61B4B65D}"/>
          </ac:picMkLst>
        </pc:picChg>
        <pc:picChg chg="add mod">
          <ac:chgData name="Ryterski Finn (HNE US-MI-PB-BO)" userId="efff052d-68b9-4e8d-b65b-45dff653056d" providerId="ADAL" clId="{4E77B3E1-3366-4E21-A4A0-00058AAC76A0}" dt="2025-04-15T12:11:07.964" v="3853" actId="1076"/>
          <ac:picMkLst>
            <pc:docMk/>
            <pc:sldMk cId="1310280941" sldId="4193"/>
            <ac:picMk id="9" creationId="{4BD8DC33-5081-E749-25C8-EC46C40AFD2E}"/>
          </ac:picMkLst>
        </pc:picChg>
        <pc:picChg chg="add del mod modCrop">
          <ac:chgData name="Ryterski Finn (HNE US-MI-PB-BO)" userId="efff052d-68b9-4e8d-b65b-45dff653056d" providerId="ADAL" clId="{4E77B3E1-3366-4E21-A4A0-00058AAC76A0}" dt="2025-04-15T12:13:05.307" v="3892" actId="478"/>
          <ac:picMkLst>
            <pc:docMk/>
            <pc:sldMk cId="1310280941" sldId="4193"/>
            <ac:picMk id="10" creationId="{2D2BABDB-D1BD-7EF5-B9C9-261908AC7C76}"/>
          </ac:picMkLst>
        </pc:picChg>
        <pc:picChg chg="add del mod modCrop">
          <ac:chgData name="Ryterski Finn (HNE US-MI-PB-BO)" userId="efff052d-68b9-4e8d-b65b-45dff653056d" providerId="ADAL" clId="{4E77B3E1-3366-4E21-A4A0-00058AAC76A0}" dt="2025-04-15T12:36:11.682" v="4648" actId="478"/>
          <ac:picMkLst>
            <pc:docMk/>
            <pc:sldMk cId="1310280941" sldId="4193"/>
            <ac:picMk id="14" creationId="{27DB5140-C1DE-41B9-6D15-22E3E68F3588}"/>
          </ac:picMkLst>
        </pc:picChg>
        <pc:picChg chg="add mod">
          <ac:chgData name="Ryterski Finn (HNE US-MI-PB-BO)" userId="efff052d-68b9-4e8d-b65b-45dff653056d" providerId="ADAL" clId="{4E77B3E1-3366-4E21-A4A0-00058AAC76A0}" dt="2025-04-15T12:38:19.670" v="4770" actId="1037"/>
          <ac:picMkLst>
            <pc:docMk/>
            <pc:sldMk cId="1310280941" sldId="4193"/>
            <ac:picMk id="15" creationId="{0B029AC9-6EF1-472A-A57B-85DB30559478}"/>
          </ac:picMkLst>
        </pc:picChg>
        <pc:picChg chg="add del mod topLvl">
          <ac:chgData name="Ryterski Finn (HNE US-MI-PB-BO)" userId="efff052d-68b9-4e8d-b65b-45dff653056d" providerId="ADAL" clId="{4E77B3E1-3366-4E21-A4A0-00058AAC76A0}" dt="2025-04-15T07:49:21.173" v="238" actId="478"/>
          <ac:picMkLst>
            <pc:docMk/>
            <pc:sldMk cId="1310280941" sldId="4193"/>
            <ac:picMk id="17" creationId="{0785C15A-59F9-69FC-8989-D83876DB9F7E}"/>
          </ac:picMkLst>
        </pc:picChg>
        <pc:picChg chg="add mod">
          <ac:chgData name="Ryterski Finn (HNE US-MI-PB-BO)" userId="efff052d-68b9-4e8d-b65b-45dff653056d" providerId="ADAL" clId="{4E77B3E1-3366-4E21-A4A0-00058AAC76A0}" dt="2025-04-15T12:38:19.670" v="4770" actId="1037"/>
          <ac:picMkLst>
            <pc:docMk/>
            <pc:sldMk cId="1310280941" sldId="4193"/>
            <ac:picMk id="17" creationId="{91795AD9-8086-9B1A-AB43-59CF146F7F7A}"/>
          </ac:picMkLst>
        </pc:picChg>
        <pc:picChg chg="add mod">
          <ac:chgData name="Ryterski Finn (HNE US-MI-PB-BO)" userId="efff052d-68b9-4e8d-b65b-45dff653056d" providerId="ADAL" clId="{4E77B3E1-3366-4E21-A4A0-00058AAC76A0}" dt="2025-04-15T07:50:59.848" v="267" actId="1076"/>
          <ac:picMkLst>
            <pc:docMk/>
            <pc:sldMk cId="1310280941" sldId="4193"/>
            <ac:picMk id="18" creationId="{1279E184-1E21-D324-CD45-56F4FEB785A6}"/>
          </ac:picMkLst>
        </pc:picChg>
        <pc:picChg chg="add del mod ord modCrop">
          <ac:chgData name="Ryterski Finn (HNE US-MI-PB-BO)" userId="efff052d-68b9-4e8d-b65b-45dff653056d" providerId="ADAL" clId="{4E77B3E1-3366-4E21-A4A0-00058AAC76A0}" dt="2025-04-15T07:54:26.260" v="374" actId="478"/>
          <ac:picMkLst>
            <pc:docMk/>
            <pc:sldMk cId="1310280941" sldId="4193"/>
            <ac:picMk id="19" creationId="{C3CD6F65-EBA1-AB6B-F82B-D078686BE4CA}"/>
          </ac:picMkLst>
        </pc:picChg>
        <pc:picChg chg="mod">
          <ac:chgData name="Ryterski Finn (HNE US-MI-PB-BO)" userId="efff052d-68b9-4e8d-b65b-45dff653056d" providerId="ADAL" clId="{4E77B3E1-3366-4E21-A4A0-00058AAC76A0}" dt="2025-04-15T12:38:19.670" v="4770" actId="1037"/>
          <ac:picMkLst>
            <pc:docMk/>
            <pc:sldMk cId="1310280941" sldId="4193"/>
            <ac:picMk id="22" creationId="{194F8CA7-76CC-9F41-9641-5AA2A4D6E406}"/>
          </ac:picMkLst>
        </pc:picChg>
        <pc:picChg chg="add mod ord modCrop">
          <ac:chgData name="Ryterski Finn (HNE US-MI-PB-BO)" userId="efff052d-68b9-4e8d-b65b-45dff653056d" providerId="ADAL" clId="{4E77B3E1-3366-4E21-A4A0-00058AAC76A0}" dt="2025-04-15T12:38:19.670" v="4770" actId="1037"/>
          <ac:picMkLst>
            <pc:docMk/>
            <pc:sldMk cId="1310280941" sldId="4193"/>
            <ac:picMk id="23" creationId="{F18D2BD2-7D24-99B1-3B75-DFE02D703E82}"/>
          </ac:picMkLst>
        </pc:picChg>
        <pc:picChg chg="del mod topLvl">
          <ac:chgData name="Ryterski Finn (HNE US-MI-PB-BO)" userId="efff052d-68b9-4e8d-b65b-45dff653056d" providerId="ADAL" clId="{4E77B3E1-3366-4E21-A4A0-00058AAC76A0}" dt="2025-04-15T07:51:38.506" v="285" actId="478"/>
          <ac:picMkLst>
            <pc:docMk/>
            <pc:sldMk cId="1310280941" sldId="4193"/>
            <ac:picMk id="26" creationId="{0E3FDCB9-2995-3AD7-1E4E-2015CD401543}"/>
          </ac:picMkLst>
        </pc:picChg>
        <pc:picChg chg="add mod ord">
          <ac:chgData name="Ryterski Finn (HNE US-MI-PB-BO)" userId="efff052d-68b9-4e8d-b65b-45dff653056d" providerId="ADAL" clId="{4E77B3E1-3366-4E21-A4A0-00058AAC76A0}" dt="2025-04-15T12:38:19.670" v="4770" actId="1037"/>
          <ac:picMkLst>
            <pc:docMk/>
            <pc:sldMk cId="1310280941" sldId="4193"/>
            <ac:picMk id="28" creationId="{FA14BA8B-6EEC-C683-CEA4-DBB747A0B239}"/>
          </ac:picMkLst>
        </pc:picChg>
        <pc:picChg chg="add mod ord">
          <ac:chgData name="Ryterski Finn (HNE US-MI-PB-BO)" userId="efff052d-68b9-4e8d-b65b-45dff653056d" providerId="ADAL" clId="{4E77B3E1-3366-4E21-A4A0-00058AAC76A0}" dt="2025-04-15T12:38:19.670" v="4770" actId="1037"/>
          <ac:picMkLst>
            <pc:docMk/>
            <pc:sldMk cId="1310280941" sldId="4193"/>
            <ac:picMk id="30" creationId="{FAF9AC4A-49EF-893A-BCA5-EFAE1878F8A4}"/>
          </ac:picMkLst>
        </pc:picChg>
        <pc:picChg chg="add del mod ord">
          <ac:chgData name="Ryterski Finn (HNE US-MI-PB-BO)" userId="efff052d-68b9-4e8d-b65b-45dff653056d" providerId="ADAL" clId="{4E77B3E1-3366-4E21-A4A0-00058AAC76A0}" dt="2025-04-15T12:09:13.672" v="3662" actId="478"/>
          <ac:picMkLst>
            <pc:docMk/>
            <pc:sldMk cId="1310280941" sldId="4193"/>
            <ac:picMk id="32" creationId="{C9FC9EE1-94A0-A71E-9B73-D2FC3B4908BE}"/>
          </ac:picMkLst>
        </pc:picChg>
        <pc:picChg chg="add mod ord">
          <ac:chgData name="Ryterski Finn (HNE US-MI-PB-BO)" userId="efff052d-68b9-4e8d-b65b-45dff653056d" providerId="ADAL" clId="{4E77B3E1-3366-4E21-A4A0-00058AAC76A0}" dt="2025-04-15T12:41:46.823" v="4851" actId="1076"/>
          <ac:picMkLst>
            <pc:docMk/>
            <pc:sldMk cId="1310280941" sldId="4193"/>
            <ac:picMk id="33" creationId="{32552E5F-4363-B30E-0D10-597C68003852}"/>
          </ac:picMkLst>
        </pc:picChg>
        <pc:picChg chg="add del mod">
          <ac:chgData name="Ryterski Finn (HNE US-MI-PB-BO)" userId="efff052d-68b9-4e8d-b65b-45dff653056d" providerId="ADAL" clId="{4E77B3E1-3366-4E21-A4A0-00058AAC76A0}" dt="2025-04-15T07:52:52.829" v="290" actId="478"/>
          <ac:picMkLst>
            <pc:docMk/>
            <pc:sldMk cId="1310280941" sldId="4193"/>
            <ac:picMk id="35" creationId="{F00A0F47-4DA4-C5B1-A5AC-2CAC569338F2}"/>
          </ac:picMkLst>
        </pc:picChg>
        <pc:picChg chg="add mod ord modCrop">
          <ac:chgData name="Ryterski Finn (HNE US-MI-PB-BO)" userId="efff052d-68b9-4e8d-b65b-45dff653056d" providerId="ADAL" clId="{4E77B3E1-3366-4E21-A4A0-00058AAC76A0}" dt="2025-04-15T12:38:19.670" v="4770" actId="1037"/>
          <ac:picMkLst>
            <pc:docMk/>
            <pc:sldMk cId="1310280941" sldId="4193"/>
            <ac:picMk id="36" creationId="{A155433F-C787-FD19-748C-D00F1C5254BE}"/>
          </ac:picMkLst>
        </pc:picChg>
        <pc:picChg chg="add mod ord modCrop">
          <ac:chgData name="Ryterski Finn (HNE US-MI-PB-BO)" userId="efff052d-68b9-4e8d-b65b-45dff653056d" providerId="ADAL" clId="{4E77B3E1-3366-4E21-A4A0-00058AAC76A0}" dt="2025-04-15T12:10:07.669" v="3825"/>
          <ac:picMkLst>
            <pc:docMk/>
            <pc:sldMk cId="1310280941" sldId="4193"/>
            <ac:picMk id="45" creationId="{38812105-3299-595F-FE64-4F57B626679F}"/>
          </ac:picMkLst>
        </pc:picChg>
        <pc:picChg chg="add del mod ord">
          <ac:chgData name="Ryterski Finn (HNE US-MI-PB-BO)" userId="efff052d-68b9-4e8d-b65b-45dff653056d" providerId="ADAL" clId="{4E77B3E1-3366-4E21-A4A0-00058AAC76A0}" dt="2025-04-15T12:41:56.127" v="4853" actId="478"/>
          <ac:picMkLst>
            <pc:docMk/>
            <pc:sldMk cId="1310280941" sldId="4193"/>
            <ac:picMk id="48" creationId="{8D1CE944-88FC-1F86-A098-B7BB8300285C}"/>
          </ac:picMkLst>
        </pc:picChg>
        <pc:picChg chg="add del mod">
          <ac:chgData name="Ryterski Finn (HNE US-MI-PB-BO)" userId="efff052d-68b9-4e8d-b65b-45dff653056d" providerId="ADAL" clId="{4E77B3E1-3366-4E21-A4A0-00058AAC76A0}" dt="2025-04-15T07:49:24.229" v="241" actId="478"/>
          <ac:picMkLst>
            <pc:docMk/>
            <pc:sldMk cId="1310280941" sldId="4193"/>
            <ac:picMk id="1026" creationId="{8DDA83BD-241A-EE0E-347E-425AAD61C127}"/>
          </ac:picMkLst>
        </pc:picChg>
        <pc:picChg chg="add del mod">
          <ac:chgData name="Ryterski Finn (HNE US-MI-PB-BO)" userId="efff052d-68b9-4e8d-b65b-45dff653056d" providerId="ADAL" clId="{4E77B3E1-3366-4E21-A4A0-00058AAC76A0}" dt="2025-04-15T07:51:05.657" v="276" actId="478"/>
          <ac:picMkLst>
            <pc:docMk/>
            <pc:sldMk cId="1310280941" sldId="4193"/>
            <ac:picMk id="1028" creationId="{C28D31E5-79B0-8CD2-09ED-A8C9408544B0}"/>
          </ac:picMkLst>
        </pc:picChg>
        <pc:picChg chg="add mod">
          <ac:chgData name="Ryterski Finn (HNE US-MI-PB-BO)" userId="efff052d-68b9-4e8d-b65b-45dff653056d" providerId="ADAL" clId="{4E77B3E1-3366-4E21-A4A0-00058AAC76A0}" dt="2025-04-15T07:51:01.070" v="273" actId="14100"/>
          <ac:picMkLst>
            <pc:docMk/>
            <pc:sldMk cId="1310280941" sldId="4193"/>
            <ac:picMk id="1030" creationId="{B6B17805-7EBC-80A3-3F09-FE0A17DDBB17}"/>
          </ac:picMkLst>
        </pc:picChg>
        <pc:picChg chg="add del mod">
          <ac:chgData name="Ryterski Finn (HNE US-MI-PB-BO)" userId="efff052d-68b9-4e8d-b65b-45dff653056d" providerId="ADAL" clId="{4E77B3E1-3366-4E21-A4A0-00058AAC76A0}" dt="2025-04-15T07:51:00.448" v="270" actId="14100"/>
          <ac:picMkLst>
            <pc:docMk/>
            <pc:sldMk cId="1310280941" sldId="4193"/>
            <ac:picMk id="1032" creationId="{C2888A77-37A8-3593-22CF-2AFA84B342BB}"/>
          </ac:picMkLst>
        </pc:picChg>
        <pc:picChg chg="add">
          <ac:chgData name="Ryterski Finn (HNE US-MI-PB-BO)" userId="efff052d-68b9-4e8d-b65b-45dff653056d" providerId="ADAL" clId="{4E77B3E1-3366-4E21-A4A0-00058AAC76A0}" dt="2025-04-15T07:51:14.956" v="281"/>
          <ac:picMkLst>
            <pc:docMk/>
            <pc:sldMk cId="1310280941" sldId="4193"/>
            <ac:picMk id="1034" creationId="{D9CF687E-AB7E-1815-1CA7-30F5F18DF60D}"/>
          </ac:picMkLst>
        </pc:picChg>
        <pc:picChg chg="add">
          <ac:chgData name="Ryterski Finn (HNE US-MI-PB-BO)" userId="efff052d-68b9-4e8d-b65b-45dff653056d" providerId="ADAL" clId="{4E77B3E1-3366-4E21-A4A0-00058AAC76A0}" dt="2025-04-15T07:51:14.956" v="281"/>
          <ac:picMkLst>
            <pc:docMk/>
            <pc:sldMk cId="1310280941" sldId="4193"/>
            <ac:picMk id="1035" creationId="{ED56167C-D504-FEA0-557B-EC00199B9EED}"/>
          </ac:picMkLst>
        </pc:picChg>
        <pc:picChg chg="add">
          <ac:chgData name="Ryterski Finn (HNE US-MI-PB-BO)" userId="efff052d-68b9-4e8d-b65b-45dff653056d" providerId="ADAL" clId="{4E77B3E1-3366-4E21-A4A0-00058AAC76A0}" dt="2025-04-15T07:51:14.956" v="281"/>
          <ac:picMkLst>
            <pc:docMk/>
            <pc:sldMk cId="1310280941" sldId="4193"/>
            <ac:picMk id="1036" creationId="{696D58E0-8750-08BA-9740-BC41DAB29DA5}"/>
          </ac:picMkLst>
        </pc:picChg>
        <pc:picChg chg="add">
          <ac:chgData name="Ryterski Finn (HNE US-MI-PB-BO)" userId="efff052d-68b9-4e8d-b65b-45dff653056d" providerId="ADAL" clId="{4E77B3E1-3366-4E21-A4A0-00058AAC76A0}" dt="2025-04-15T07:51:14.956" v="281"/>
          <ac:picMkLst>
            <pc:docMk/>
            <pc:sldMk cId="1310280941" sldId="4193"/>
            <ac:picMk id="1037" creationId="{AE6C51F4-41BC-1D88-92D6-5F55DB5306CA}"/>
          </ac:picMkLst>
        </pc:picChg>
        <pc:picChg chg="add">
          <ac:chgData name="Ryterski Finn (HNE US-MI-PB-BO)" userId="efff052d-68b9-4e8d-b65b-45dff653056d" providerId="ADAL" clId="{4E77B3E1-3366-4E21-A4A0-00058AAC76A0}" dt="2025-04-15T07:51:14.956" v="281"/>
          <ac:picMkLst>
            <pc:docMk/>
            <pc:sldMk cId="1310280941" sldId="4193"/>
            <ac:picMk id="1038" creationId="{71271492-E26C-FEFE-3131-CA196F5FFB2B}"/>
          </ac:picMkLst>
        </pc:picChg>
        <pc:picChg chg="add">
          <ac:chgData name="Ryterski Finn (HNE US-MI-PB-BO)" userId="efff052d-68b9-4e8d-b65b-45dff653056d" providerId="ADAL" clId="{4E77B3E1-3366-4E21-A4A0-00058AAC76A0}" dt="2025-04-15T07:51:14.956" v="281"/>
          <ac:picMkLst>
            <pc:docMk/>
            <pc:sldMk cId="1310280941" sldId="4193"/>
            <ac:picMk id="1039" creationId="{C6BEFD7D-D50A-9CB7-D84E-F144696B0ED7}"/>
          </ac:picMkLst>
        </pc:picChg>
        <pc:cxnChg chg="add mod ord">
          <ac:chgData name="Ryterski Finn (HNE US-MI-PB-BO)" userId="efff052d-68b9-4e8d-b65b-45dff653056d" providerId="ADAL" clId="{4E77B3E1-3366-4E21-A4A0-00058AAC76A0}" dt="2025-04-15T12:38:19.670" v="4770" actId="1037"/>
          <ac:cxnSpMkLst>
            <pc:docMk/>
            <pc:sldMk cId="1310280941" sldId="4193"/>
            <ac:cxnSpMk id="43" creationId="{3A792F96-6D91-D333-1ECA-0CCCE628EACC}"/>
          </ac:cxnSpMkLst>
        </pc:cxnChg>
      </pc:sldChg>
      <pc:sldChg chg="new del">
        <pc:chgData name="Ryterski Finn (HNE US-MI-PB-BO)" userId="efff052d-68b9-4e8d-b65b-45dff653056d" providerId="ADAL" clId="{4E77B3E1-3366-4E21-A4A0-00058AAC76A0}" dt="2025-04-15T07:41:13.306" v="4" actId="47"/>
        <pc:sldMkLst>
          <pc:docMk/>
          <pc:sldMk cId="2028783777" sldId="4193"/>
        </pc:sldMkLst>
      </pc:sldChg>
      <pc:sldChg chg="addSp delSp modSp new mod ord modClrScheme chgLayout">
        <pc:chgData name="Ryterski Finn (HNE US-MI-PB-BO)" userId="efff052d-68b9-4e8d-b65b-45dff653056d" providerId="ADAL" clId="{4E77B3E1-3366-4E21-A4A0-00058AAC76A0}" dt="2025-04-15T14:42:36.841" v="6946" actId="1076"/>
        <pc:sldMkLst>
          <pc:docMk/>
          <pc:sldMk cId="1381429792" sldId="4194"/>
        </pc:sldMkLst>
        <pc:spChg chg="add del mod modVis">
          <ac:chgData name="Ryterski Finn (HNE US-MI-PB-BO)" userId="efff052d-68b9-4e8d-b65b-45dff653056d" providerId="ADAL" clId="{4E77B3E1-3366-4E21-A4A0-00058AAC76A0}" dt="2025-04-15T11:07:52.716" v="3257" actId="962"/>
          <ac:spMkLst>
            <pc:docMk/>
            <pc:sldMk cId="1381429792" sldId="4194"/>
            <ac:spMk id="2" creationId="{0EC0D244-6E63-E409-F3C7-8B6209E5737E}"/>
          </ac:spMkLst>
        </pc:spChg>
        <pc:spChg chg="add del mod modVis">
          <ac:chgData name="Ryterski Finn (HNE US-MI-PB-BO)" userId="efff052d-68b9-4e8d-b65b-45dff653056d" providerId="ADAL" clId="{4E77B3E1-3366-4E21-A4A0-00058AAC76A0}" dt="2025-04-15T12:51:04.970" v="5032"/>
          <ac:spMkLst>
            <pc:docMk/>
            <pc:sldMk cId="1381429792" sldId="4194"/>
            <ac:spMk id="2" creationId="{614847A2-9F44-5F2D-99FD-BA7720F08FDF}"/>
          </ac:spMkLst>
        </pc:spChg>
        <pc:spChg chg="del mod ord">
          <ac:chgData name="Ryterski Finn (HNE US-MI-PB-BO)" userId="efff052d-68b9-4e8d-b65b-45dff653056d" providerId="ADAL" clId="{4E77B3E1-3366-4E21-A4A0-00058AAC76A0}" dt="2025-04-15T08:04:38.014" v="783" actId="700"/>
          <ac:spMkLst>
            <pc:docMk/>
            <pc:sldMk cId="1381429792" sldId="4194"/>
            <ac:spMk id="2" creationId="{7C13F1D6-320F-660D-8B4C-2E73267BFF66}"/>
          </ac:spMkLst>
        </pc:spChg>
        <pc:spChg chg="add del mod modVis">
          <ac:chgData name="Ryterski Finn (HNE US-MI-PB-BO)" userId="efff052d-68b9-4e8d-b65b-45dff653056d" providerId="ADAL" clId="{4E77B3E1-3366-4E21-A4A0-00058AAC76A0}" dt="2025-04-15T11:07:52.556" v="3235" actId="962"/>
          <ac:spMkLst>
            <pc:docMk/>
            <pc:sldMk cId="1381429792" sldId="4194"/>
            <ac:spMk id="3" creationId="{4DD3BE40-0FD3-925A-9C6F-E4E1C1B42B1C}"/>
          </ac:spMkLst>
        </pc:spChg>
        <pc:spChg chg="add mod ord">
          <ac:chgData name="Ryterski Finn (HNE US-MI-PB-BO)" userId="efff052d-68b9-4e8d-b65b-45dff653056d" providerId="ADAL" clId="{4E77B3E1-3366-4E21-A4A0-00058AAC76A0}" dt="2025-04-15T14:27:52.091" v="6739" actId="14100"/>
          <ac:spMkLst>
            <pc:docMk/>
            <pc:sldMk cId="1381429792" sldId="4194"/>
            <ac:spMk id="3" creationId="{811996D8-15DD-64FA-0143-F8D18DD7947F}"/>
          </ac:spMkLst>
        </pc:spChg>
        <pc:spChg chg="del">
          <ac:chgData name="Ryterski Finn (HNE US-MI-PB-BO)" userId="efff052d-68b9-4e8d-b65b-45dff653056d" providerId="ADAL" clId="{4E77B3E1-3366-4E21-A4A0-00058AAC76A0}" dt="2025-04-15T08:04:38.014" v="783" actId="700"/>
          <ac:spMkLst>
            <pc:docMk/>
            <pc:sldMk cId="1381429792" sldId="4194"/>
            <ac:spMk id="3" creationId="{EEF1B68E-73F0-7936-0FD1-4DAE25FCA8F8}"/>
          </ac:spMkLst>
        </pc:spChg>
        <pc:spChg chg="add mod ord">
          <ac:chgData name="Ryterski Finn (HNE US-MI-PB-BO)" userId="efff052d-68b9-4e8d-b65b-45dff653056d" providerId="ADAL" clId="{4E77B3E1-3366-4E21-A4A0-00058AAC76A0}" dt="2025-04-15T14:05:51.150" v="6122"/>
          <ac:spMkLst>
            <pc:docMk/>
            <pc:sldMk cId="1381429792" sldId="4194"/>
            <ac:spMk id="4" creationId="{9C474AC1-91D4-9A14-C67E-76ADD281CC9B}"/>
          </ac:spMkLst>
        </pc:spChg>
        <pc:spChg chg="add del mod ord">
          <ac:chgData name="Ryterski Finn (HNE US-MI-PB-BO)" userId="efff052d-68b9-4e8d-b65b-45dff653056d" providerId="ADAL" clId="{4E77B3E1-3366-4E21-A4A0-00058AAC76A0}" dt="2025-04-15T13:00:58.282" v="5351" actId="478"/>
          <ac:spMkLst>
            <pc:docMk/>
            <pc:sldMk cId="1381429792" sldId="4194"/>
            <ac:spMk id="5" creationId="{1452AE8F-F654-199C-658C-BF73428893EE}"/>
          </ac:spMkLst>
        </pc:spChg>
        <pc:spChg chg="add mod">
          <ac:chgData name="Ryterski Finn (HNE US-MI-PB-BO)" userId="efff052d-68b9-4e8d-b65b-45dff653056d" providerId="ADAL" clId="{4E77B3E1-3366-4E21-A4A0-00058AAC76A0}" dt="2025-04-15T14:05:51.152" v="6123"/>
          <ac:spMkLst>
            <pc:docMk/>
            <pc:sldMk cId="1381429792" sldId="4194"/>
            <ac:spMk id="6" creationId="{E682D60A-308C-65F7-8305-2C41F8D0997F}"/>
          </ac:spMkLst>
        </pc:spChg>
        <pc:spChg chg="add mod">
          <ac:chgData name="Ryterski Finn (HNE US-MI-PB-BO)" userId="efff052d-68b9-4e8d-b65b-45dff653056d" providerId="ADAL" clId="{4E77B3E1-3366-4E21-A4A0-00058AAC76A0}" dt="2025-04-15T14:05:51.153" v="6124"/>
          <ac:spMkLst>
            <pc:docMk/>
            <pc:sldMk cId="1381429792" sldId="4194"/>
            <ac:spMk id="7" creationId="{B3D27093-108A-17E3-1327-8B48508EE35A}"/>
          </ac:spMkLst>
        </pc:spChg>
        <pc:spChg chg="add mod">
          <ac:chgData name="Ryterski Finn (HNE US-MI-PB-BO)" userId="efff052d-68b9-4e8d-b65b-45dff653056d" providerId="ADAL" clId="{4E77B3E1-3366-4E21-A4A0-00058AAC76A0}" dt="2025-04-15T14:05:51.154" v="6125"/>
          <ac:spMkLst>
            <pc:docMk/>
            <pc:sldMk cId="1381429792" sldId="4194"/>
            <ac:spMk id="8" creationId="{EB696CD8-8E80-1014-4C01-A448E0688B6F}"/>
          </ac:spMkLst>
        </pc:spChg>
        <pc:spChg chg="add mod ord">
          <ac:chgData name="Ryterski Finn (HNE US-MI-PB-BO)" userId="efff052d-68b9-4e8d-b65b-45dff653056d" providerId="ADAL" clId="{4E77B3E1-3366-4E21-A4A0-00058AAC76A0}" dt="2025-04-15T14:09:33.683" v="6240" actId="20577"/>
          <ac:spMkLst>
            <pc:docMk/>
            <pc:sldMk cId="1381429792" sldId="4194"/>
            <ac:spMk id="10" creationId="{0F4DDCCE-B510-EE00-2101-53D46992121C}"/>
          </ac:spMkLst>
        </pc:spChg>
        <pc:spChg chg="add del mod modVis">
          <ac:chgData name="Ryterski Finn (HNE US-MI-PB-BO)" userId="efff052d-68b9-4e8d-b65b-45dff653056d" providerId="ADAL" clId="{4E77B3E1-3366-4E21-A4A0-00058AAC76A0}" dt="2025-04-15T11:07:51.325" v="3213" actId="962"/>
          <ac:spMkLst>
            <pc:docMk/>
            <pc:sldMk cId="1381429792" sldId="4194"/>
            <ac:spMk id="10" creationId="{41330FA5-024E-C077-692B-9F4D86A6D2DE}"/>
          </ac:spMkLst>
        </pc:spChg>
        <pc:spChg chg="add del mod modVis">
          <ac:chgData name="Ryterski Finn (HNE US-MI-PB-BO)" userId="efff052d-68b9-4e8d-b65b-45dff653056d" providerId="ADAL" clId="{4E77B3E1-3366-4E21-A4A0-00058AAC76A0}" dt="2025-04-15T13:00:26.484" v="5266"/>
          <ac:spMkLst>
            <pc:docMk/>
            <pc:sldMk cId="1381429792" sldId="4194"/>
            <ac:spMk id="11" creationId="{8DD8E052-07E6-BA32-B502-5FAA4D59874F}"/>
          </ac:spMkLst>
        </pc:spChg>
        <pc:spChg chg="add del mod">
          <ac:chgData name="Ryterski Finn (HNE US-MI-PB-BO)" userId="efff052d-68b9-4e8d-b65b-45dff653056d" providerId="ADAL" clId="{4E77B3E1-3366-4E21-A4A0-00058AAC76A0}" dt="2025-04-15T08:28:10.887" v="964" actId="478"/>
          <ac:spMkLst>
            <pc:docMk/>
            <pc:sldMk cId="1381429792" sldId="4194"/>
            <ac:spMk id="11" creationId="{9729FEF9-BAE5-593F-324F-47186D1BA66C}"/>
          </ac:spMkLst>
        </pc:spChg>
        <pc:spChg chg="add del mod modVis">
          <ac:chgData name="Ryterski Finn (HNE US-MI-PB-BO)" userId="efff052d-68b9-4e8d-b65b-45dff653056d" providerId="ADAL" clId="{4E77B3E1-3366-4E21-A4A0-00058AAC76A0}" dt="2025-04-15T11:07:50.156" v="3191" actId="962"/>
          <ac:spMkLst>
            <pc:docMk/>
            <pc:sldMk cId="1381429792" sldId="4194"/>
            <ac:spMk id="11" creationId="{FFBCBB75-7500-EF58-3470-D5C77CB28E15}"/>
          </ac:spMkLst>
        </pc:spChg>
        <pc:spChg chg="add del mod modVis">
          <ac:chgData name="Ryterski Finn (HNE US-MI-PB-BO)" userId="efff052d-68b9-4e8d-b65b-45dff653056d" providerId="ADAL" clId="{4E77B3E1-3366-4E21-A4A0-00058AAC76A0}" dt="2025-04-15T13:00:30.247" v="5314"/>
          <ac:spMkLst>
            <pc:docMk/>
            <pc:sldMk cId="1381429792" sldId="4194"/>
            <ac:spMk id="13" creationId="{1BE70767-34F2-55DC-5A09-7EA774D3A29E}"/>
          </ac:spMkLst>
        </pc:spChg>
        <pc:spChg chg="add del mod">
          <ac:chgData name="Ryterski Finn (HNE US-MI-PB-BO)" userId="efff052d-68b9-4e8d-b65b-45dff653056d" providerId="ADAL" clId="{4E77B3E1-3366-4E21-A4A0-00058AAC76A0}" dt="2025-04-15T08:28:09.263" v="963" actId="478"/>
          <ac:spMkLst>
            <pc:docMk/>
            <pc:sldMk cId="1381429792" sldId="4194"/>
            <ac:spMk id="13" creationId="{41992B8A-1B8C-8D6D-0D56-E62C3E92870B}"/>
          </ac:spMkLst>
        </pc:spChg>
        <pc:spChg chg="add del mod modVis">
          <ac:chgData name="Ryterski Finn (HNE US-MI-PB-BO)" userId="efff052d-68b9-4e8d-b65b-45dff653056d" providerId="ADAL" clId="{4E77B3E1-3366-4E21-A4A0-00058AAC76A0}" dt="2025-04-15T13:00:31.051" v="5342"/>
          <ac:spMkLst>
            <pc:docMk/>
            <pc:sldMk cId="1381429792" sldId="4194"/>
            <ac:spMk id="14" creationId="{FBEDF821-DC1D-470F-22DF-D2129DC925D8}"/>
          </ac:spMkLst>
        </pc:spChg>
        <pc:spChg chg="add mod ord">
          <ac:chgData name="Ryterski Finn (HNE US-MI-PB-BO)" userId="efff052d-68b9-4e8d-b65b-45dff653056d" providerId="ADAL" clId="{4E77B3E1-3366-4E21-A4A0-00058AAC76A0}" dt="2025-04-15T14:05:51.162" v="6135"/>
          <ac:spMkLst>
            <pc:docMk/>
            <pc:sldMk cId="1381429792" sldId="4194"/>
            <ac:spMk id="15" creationId="{340AFD7A-C6AF-7342-1C97-B6473A8D3A15}"/>
          </ac:spMkLst>
        </pc:spChg>
        <pc:spChg chg="add del mod ord">
          <ac:chgData name="Ryterski Finn (HNE US-MI-PB-BO)" userId="efff052d-68b9-4e8d-b65b-45dff653056d" providerId="ADAL" clId="{4E77B3E1-3366-4E21-A4A0-00058AAC76A0}" dt="2025-04-15T14:10:06.477" v="6277" actId="478"/>
          <ac:spMkLst>
            <pc:docMk/>
            <pc:sldMk cId="1381429792" sldId="4194"/>
            <ac:spMk id="17" creationId="{76B23081-516E-7048-DF17-54B5EBDA4B76}"/>
          </ac:spMkLst>
        </pc:spChg>
        <pc:spChg chg="add del mod">
          <ac:chgData name="Ryterski Finn (HNE US-MI-PB-BO)" userId="efff052d-68b9-4e8d-b65b-45dff653056d" providerId="ADAL" clId="{4E77B3E1-3366-4E21-A4A0-00058AAC76A0}" dt="2025-04-15T13:46:57.064" v="5380" actId="478"/>
          <ac:spMkLst>
            <pc:docMk/>
            <pc:sldMk cId="1381429792" sldId="4194"/>
            <ac:spMk id="19" creationId="{5F209BAF-8FA4-3CF2-9770-AA59957DE86E}"/>
          </ac:spMkLst>
        </pc:spChg>
        <pc:spChg chg="add mod ord">
          <ac:chgData name="Ryterski Finn (HNE US-MI-PB-BO)" userId="efff052d-68b9-4e8d-b65b-45dff653056d" providerId="ADAL" clId="{4E77B3E1-3366-4E21-A4A0-00058AAC76A0}" dt="2025-04-15T14:20:42.500" v="6713" actId="1076"/>
          <ac:spMkLst>
            <pc:docMk/>
            <pc:sldMk cId="1381429792" sldId="4194"/>
            <ac:spMk id="21" creationId="{46B1A22E-7318-9911-3AEA-329935F6F1B7}"/>
          </ac:spMkLst>
        </pc:spChg>
        <pc:spChg chg="add mod ord">
          <ac:chgData name="Ryterski Finn (HNE US-MI-PB-BO)" userId="efff052d-68b9-4e8d-b65b-45dff653056d" providerId="ADAL" clId="{4E77B3E1-3366-4E21-A4A0-00058AAC76A0}" dt="2025-04-15T14:21:11.368" v="6722" actId="14100"/>
          <ac:spMkLst>
            <pc:docMk/>
            <pc:sldMk cId="1381429792" sldId="4194"/>
            <ac:spMk id="24" creationId="{AA7E53C3-6735-8C05-BCD1-88C7B873D99C}"/>
          </ac:spMkLst>
        </pc:spChg>
        <pc:spChg chg="add del mod">
          <ac:chgData name="Ryterski Finn (HNE US-MI-PB-BO)" userId="efff052d-68b9-4e8d-b65b-45dff653056d" providerId="ADAL" clId="{4E77B3E1-3366-4E21-A4A0-00058AAC76A0}" dt="2025-04-15T14:08:49.498" v="6220" actId="478"/>
          <ac:spMkLst>
            <pc:docMk/>
            <pc:sldMk cId="1381429792" sldId="4194"/>
            <ac:spMk id="28" creationId="{FED14A0A-3B35-9EB5-D96F-586BBE00E0E1}"/>
          </ac:spMkLst>
        </pc:spChg>
        <pc:spChg chg="add mod">
          <ac:chgData name="Ryterski Finn (HNE US-MI-PB-BO)" userId="efff052d-68b9-4e8d-b65b-45dff653056d" providerId="ADAL" clId="{4E77B3E1-3366-4E21-A4A0-00058AAC76A0}" dt="2025-04-15T14:42:32.955" v="6945" actId="1076"/>
          <ac:spMkLst>
            <pc:docMk/>
            <pc:sldMk cId="1381429792" sldId="4194"/>
            <ac:spMk id="29" creationId="{F594BC23-A6D1-8794-FD70-4CD10DC81EF1}"/>
          </ac:spMkLst>
        </pc:spChg>
        <pc:spChg chg="add del mod">
          <ac:chgData name="Ryterski Finn (HNE US-MI-PB-BO)" userId="efff052d-68b9-4e8d-b65b-45dff653056d" providerId="ADAL" clId="{4E77B3E1-3366-4E21-A4A0-00058AAC76A0}" dt="2025-04-15T14:42:32.955" v="6945" actId="1076"/>
          <ac:spMkLst>
            <pc:docMk/>
            <pc:sldMk cId="1381429792" sldId="4194"/>
            <ac:spMk id="30" creationId="{0B591415-336E-EAFE-738E-E0B52ECD85C3}"/>
          </ac:spMkLst>
        </pc:spChg>
        <pc:spChg chg="add mod">
          <ac:chgData name="Ryterski Finn (HNE US-MI-PB-BO)" userId="efff052d-68b9-4e8d-b65b-45dff653056d" providerId="ADAL" clId="{4E77B3E1-3366-4E21-A4A0-00058AAC76A0}" dt="2025-04-15T14:42:32.955" v="6945" actId="1076"/>
          <ac:spMkLst>
            <pc:docMk/>
            <pc:sldMk cId="1381429792" sldId="4194"/>
            <ac:spMk id="33" creationId="{1F6ED195-FF53-C26C-02E9-18731EA527B2}"/>
          </ac:spMkLst>
        </pc:spChg>
        <pc:spChg chg="add mod">
          <ac:chgData name="Ryterski Finn (HNE US-MI-PB-BO)" userId="efff052d-68b9-4e8d-b65b-45dff653056d" providerId="ADAL" clId="{4E77B3E1-3366-4E21-A4A0-00058AAC76A0}" dt="2025-04-15T14:42:32.955" v="6945" actId="1076"/>
          <ac:spMkLst>
            <pc:docMk/>
            <pc:sldMk cId="1381429792" sldId="4194"/>
            <ac:spMk id="36" creationId="{B9045909-4C0E-C812-D7E2-5002F189E135}"/>
          </ac:spMkLst>
        </pc:spChg>
        <pc:spChg chg="add mod">
          <ac:chgData name="Ryterski Finn (HNE US-MI-PB-BO)" userId="efff052d-68b9-4e8d-b65b-45dff653056d" providerId="ADAL" clId="{4E77B3E1-3366-4E21-A4A0-00058AAC76A0}" dt="2025-04-15T14:41:35.651" v="6942"/>
          <ac:spMkLst>
            <pc:docMk/>
            <pc:sldMk cId="1381429792" sldId="4194"/>
            <ac:spMk id="37" creationId="{7E1F3345-BDD6-B92D-D238-F6A84326887A}"/>
          </ac:spMkLst>
        </pc:spChg>
        <pc:graphicFrameChg chg="add mod ord modVis">
          <ac:chgData name="Ryterski Finn (HNE US-MI-PB-BO)" userId="efff052d-68b9-4e8d-b65b-45dff653056d" providerId="ADAL" clId="{4E77B3E1-3366-4E21-A4A0-00058AAC76A0}" dt="2025-04-15T14:05:51.172" v="6149"/>
          <ac:graphicFrameMkLst>
            <pc:docMk/>
            <pc:sldMk cId="1381429792" sldId="4194"/>
            <ac:graphicFrameMk id="16" creationId="{0142207C-B427-2449-1DAC-1D8E82E8DEC3}"/>
          </ac:graphicFrameMkLst>
        </pc:graphicFrameChg>
        <pc:picChg chg="add mod ord modCrop">
          <ac:chgData name="Ryterski Finn (HNE US-MI-PB-BO)" userId="efff052d-68b9-4e8d-b65b-45dff653056d" providerId="ADAL" clId="{4E77B3E1-3366-4E21-A4A0-00058AAC76A0}" dt="2025-04-15T14:09:16.738" v="6231" actId="1076"/>
          <ac:picMkLst>
            <pc:docMk/>
            <pc:sldMk cId="1381429792" sldId="4194"/>
            <ac:picMk id="9" creationId="{5319B68B-21FC-5A2D-3C4A-FA1E33E8B4BE}"/>
          </ac:picMkLst>
        </pc:picChg>
        <pc:picChg chg="add del mod">
          <ac:chgData name="Ryterski Finn (HNE US-MI-PB-BO)" userId="efff052d-68b9-4e8d-b65b-45dff653056d" providerId="ADAL" clId="{4E77B3E1-3366-4E21-A4A0-00058AAC76A0}" dt="2025-04-15T08:28:07.759" v="962" actId="478"/>
          <ac:picMkLst>
            <pc:docMk/>
            <pc:sldMk cId="1381429792" sldId="4194"/>
            <ac:picMk id="10" creationId="{C63323AA-C3C3-DE66-3039-489EC9CFCBC9}"/>
          </ac:picMkLst>
        </pc:picChg>
        <pc:picChg chg="add mod ord">
          <ac:chgData name="Ryterski Finn (HNE US-MI-PB-BO)" userId="efff052d-68b9-4e8d-b65b-45dff653056d" providerId="ADAL" clId="{4E77B3E1-3366-4E21-A4A0-00058AAC76A0}" dt="2025-04-15T14:29:35.950" v="6787" actId="1076"/>
          <ac:picMkLst>
            <pc:docMk/>
            <pc:sldMk cId="1381429792" sldId="4194"/>
            <ac:picMk id="12" creationId="{B60D2A7E-529C-D5EC-45D0-92D8FD41217E}"/>
          </ac:picMkLst>
        </pc:picChg>
        <pc:picChg chg="add del mod">
          <ac:chgData name="Ryterski Finn (HNE US-MI-PB-BO)" userId="efff052d-68b9-4e8d-b65b-45dff653056d" providerId="ADAL" clId="{4E77B3E1-3366-4E21-A4A0-00058AAC76A0}" dt="2025-04-15T08:28:18.800" v="970" actId="478"/>
          <ac:picMkLst>
            <pc:docMk/>
            <pc:sldMk cId="1381429792" sldId="4194"/>
            <ac:picMk id="14" creationId="{06724979-4E9C-83D2-7DFC-7651B2D06B9F}"/>
          </ac:picMkLst>
        </pc:picChg>
        <pc:picChg chg="add del mod">
          <ac:chgData name="Ryterski Finn (HNE US-MI-PB-BO)" userId="efff052d-68b9-4e8d-b65b-45dff653056d" providerId="ADAL" clId="{4E77B3E1-3366-4E21-A4A0-00058AAC76A0}" dt="2025-04-15T08:28:06.888" v="961" actId="478"/>
          <ac:picMkLst>
            <pc:docMk/>
            <pc:sldMk cId="1381429792" sldId="4194"/>
            <ac:picMk id="15" creationId="{61A99E27-F39F-C1F0-861B-A473CC6338C0}"/>
          </ac:picMkLst>
        </pc:picChg>
        <pc:picChg chg="add mod ord">
          <ac:chgData name="Ryterski Finn (HNE US-MI-PB-BO)" userId="efff052d-68b9-4e8d-b65b-45dff653056d" providerId="ADAL" clId="{4E77B3E1-3366-4E21-A4A0-00058AAC76A0}" dt="2025-04-15T14:42:36.841" v="6946" actId="1076"/>
          <ac:picMkLst>
            <pc:docMk/>
            <pc:sldMk cId="1381429792" sldId="4194"/>
            <ac:picMk id="18" creationId="{D21CFCA4-4045-F5F3-E7F4-9BD9201BEF12}"/>
          </ac:picMkLst>
        </pc:picChg>
        <pc:picChg chg="add mod ord">
          <ac:chgData name="Ryterski Finn (HNE US-MI-PB-BO)" userId="efff052d-68b9-4e8d-b65b-45dff653056d" providerId="ADAL" clId="{4E77B3E1-3366-4E21-A4A0-00058AAC76A0}" dt="2025-04-15T14:20:42.500" v="6713" actId="1076"/>
          <ac:picMkLst>
            <pc:docMk/>
            <pc:sldMk cId="1381429792" sldId="4194"/>
            <ac:picMk id="20" creationId="{731DAD6C-1315-9403-E43E-D99DAA6CA665}"/>
          </ac:picMkLst>
        </pc:picChg>
        <pc:picChg chg="add mod ord">
          <ac:chgData name="Ryterski Finn (HNE US-MI-PB-BO)" userId="efff052d-68b9-4e8d-b65b-45dff653056d" providerId="ADAL" clId="{4E77B3E1-3366-4E21-A4A0-00058AAC76A0}" dt="2025-04-15T14:21:11.368" v="6722" actId="14100"/>
          <ac:picMkLst>
            <pc:docMk/>
            <pc:sldMk cId="1381429792" sldId="4194"/>
            <ac:picMk id="23" creationId="{C15A5099-8F65-A24F-FCC7-13C2C31E15E2}"/>
          </ac:picMkLst>
        </pc:picChg>
        <pc:picChg chg="add mod ord">
          <ac:chgData name="Ryterski Finn (HNE US-MI-PB-BO)" userId="efff052d-68b9-4e8d-b65b-45dff653056d" providerId="ADAL" clId="{4E77B3E1-3366-4E21-A4A0-00058AAC76A0}" dt="2025-04-15T14:06:44.670" v="6162" actId="1076"/>
          <ac:picMkLst>
            <pc:docMk/>
            <pc:sldMk cId="1381429792" sldId="4194"/>
            <ac:picMk id="26" creationId="{8D8BF4BB-0A78-DD3F-D38C-D879C4E8C7A6}"/>
          </ac:picMkLst>
        </pc:picChg>
        <pc:picChg chg="add mod">
          <ac:chgData name="Ryterski Finn (HNE US-MI-PB-BO)" userId="efff052d-68b9-4e8d-b65b-45dff653056d" providerId="ADAL" clId="{4E77B3E1-3366-4E21-A4A0-00058AAC76A0}" dt="2025-04-15T14:42:32.955" v="6945" actId="1076"/>
          <ac:picMkLst>
            <pc:docMk/>
            <pc:sldMk cId="1381429792" sldId="4194"/>
            <ac:picMk id="32" creationId="{4E6D6AC4-BC77-127A-CBFA-903390170EDA}"/>
          </ac:picMkLst>
        </pc:picChg>
        <pc:picChg chg="add mod">
          <ac:chgData name="Ryterski Finn (HNE US-MI-PB-BO)" userId="efff052d-68b9-4e8d-b65b-45dff653056d" providerId="ADAL" clId="{4E77B3E1-3366-4E21-A4A0-00058AAC76A0}" dt="2025-04-15T14:42:32.955" v="6945" actId="1076"/>
          <ac:picMkLst>
            <pc:docMk/>
            <pc:sldMk cId="1381429792" sldId="4194"/>
            <ac:picMk id="35" creationId="{72291D97-0867-ADEF-33D5-28EEFF360E5D}"/>
          </ac:picMkLst>
        </pc:picChg>
        <pc:picChg chg="add del mod">
          <ac:chgData name="Ryterski Finn (HNE US-MI-PB-BO)" userId="efff052d-68b9-4e8d-b65b-45dff653056d" providerId="ADAL" clId="{4E77B3E1-3366-4E21-A4A0-00058AAC76A0}" dt="2025-04-15T08:05:21.171" v="801" actId="478"/>
          <ac:picMkLst>
            <pc:docMk/>
            <pc:sldMk cId="1381429792" sldId="4194"/>
            <ac:picMk id="2050" creationId="{AEF86DC7-B410-0C1F-20C7-2B6BCD14EBB1}"/>
          </ac:picMkLst>
        </pc:picChg>
        <pc:picChg chg="add del mod">
          <ac:chgData name="Ryterski Finn (HNE US-MI-PB-BO)" userId="efff052d-68b9-4e8d-b65b-45dff653056d" providerId="ADAL" clId="{4E77B3E1-3366-4E21-A4A0-00058AAC76A0}" dt="2025-04-15T08:05:20.278" v="798" actId="478"/>
          <ac:picMkLst>
            <pc:docMk/>
            <pc:sldMk cId="1381429792" sldId="4194"/>
            <ac:picMk id="2054" creationId="{7FCFF382-7BC6-C0DB-B3D5-A2DEF42336C3}"/>
          </ac:picMkLst>
        </pc:picChg>
        <pc:picChg chg="add del mod">
          <ac:chgData name="Ryterski Finn (HNE US-MI-PB-BO)" userId="efff052d-68b9-4e8d-b65b-45dff653056d" providerId="ADAL" clId="{4E77B3E1-3366-4E21-A4A0-00058AAC76A0}" dt="2025-04-15T08:05:20.854" v="800" actId="478"/>
          <ac:picMkLst>
            <pc:docMk/>
            <pc:sldMk cId="1381429792" sldId="4194"/>
            <ac:picMk id="2055" creationId="{A6BC9923-7C1E-0B93-BED2-02646A52856A}"/>
          </ac:picMkLst>
        </pc:picChg>
      </pc:sldChg>
      <pc:sldChg chg="addSp delSp modSp new mod">
        <pc:chgData name="Ryterski Finn (HNE US-MI-PB-BO)" userId="efff052d-68b9-4e8d-b65b-45dff653056d" providerId="ADAL" clId="{4E77B3E1-3366-4E21-A4A0-00058AAC76A0}" dt="2025-04-15T14:41:28.713" v="6940"/>
        <pc:sldMkLst>
          <pc:docMk/>
          <pc:sldMk cId="2757431154" sldId="4195"/>
        </pc:sldMkLst>
        <pc:spChg chg="add del mod ord">
          <ac:chgData name="Ryterski Finn (HNE US-MI-PB-BO)" userId="efff052d-68b9-4e8d-b65b-45dff653056d" providerId="ADAL" clId="{4E77B3E1-3366-4E21-A4A0-00058AAC76A0}" dt="2025-04-15T08:58:09.085" v="2445" actId="478"/>
          <ac:spMkLst>
            <pc:docMk/>
            <pc:sldMk cId="2757431154" sldId="4195"/>
            <ac:spMk id="2" creationId="{101EED53-F903-B003-5486-D49B7F734265}"/>
          </ac:spMkLst>
        </pc:spChg>
        <pc:spChg chg="add mod">
          <ac:chgData name="Ryterski Finn (HNE US-MI-PB-BO)" userId="efff052d-68b9-4e8d-b65b-45dff653056d" providerId="ADAL" clId="{4E77B3E1-3366-4E21-A4A0-00058AAC76A0}" dt="2025-04-15T13:03:32.665" v="5364"/>
          <ac:spMkLst>
            <pc:docMk/>
            <pc:sldMk cId="2757431154" sldId="4195"/>
            <ac:spMk id="2" creationId="{DA8C7055-4EBD-A816-8CE4-53FB9F86F16A}"/>
          </ac:spMkLst>
        </pc:spChg>
        <pc:spChg chg="add mod">
          <ac:chgData name="Ryterski Finn (HNE US-MI-PB-BO)" userId="efff052d-68b9-4e8d-b65b-45dff653056d" providerId="ADAL" clId="{4E77B3E1-3366-4E21-A4A0-00058AAC76A0}" dt="2025-04-15T14:41:28.713" v="6940"/>
          <ac:spMkLst>
            <pc:docMk/>
            <pc:sldMk cId="2757431154" sldId="4195"/>
            <ac:spMk id="3" creationId="{4E8B38A1-AF3D-4171-F769-7A380669D932}"/>
          </ac:spMkLst>
        </pc:spChg>
        <pc:spChg chg="del mod ord">
          <ac:chgData name="Ryterski Finn (HNE US-MI-PB-BO)" userId="efff052d-68b9-4e8d-b65b-45dff653056d" providerId="ADAL" clId="{4E77B3E1-3366-4E21-A4A0-00058AAC76A0}" dt="2025-04-15T08:43:07.446" v="1790" actId="478"/>
          <ac:spMkLst>
            <pc:docMk/>
            <pc:sldMk cId="2757431154" sldId="4195"/>
            <ac:spMk id="3" creationId="{5BFDD4C0-73E3-31CC-A959-68A5048E216B}"/>
          </ac:spMkLst>
        </pc:spChg>
        <pc:spChg chg="del mod ord">
          <ac:chgData name="Ryterski Finn (HNE US-MI-PB-BO)" userId="efff052d-68b9-4e8d-b65b-45dff653056d" providerId="ADAL" clId="{4E77B3E1-3366-4E21-A4A0-00058AAC76A0}" dt="2025-04-15T13:03:32.339" v="5363" actId="478"/>
          <ac:spMkLst>
            <pc:docMk/>
            <pc:sldMk cId="2757431154" sldId="4195"/>
            <ac:spMk id="4" creationId="{44914496-2C4F-E081-F198-A7E9B32391FC}"/>
          </ac:spMkLst>
        </pc:spChg>
        <pc:spChg chg="del mod ord">
          <ac:chgData name="Ryterski Finn (HNE US-MI-PB-BO)" userId="efff052d-68b9-4e8d-b65b-45dff653056d" providerId="ADAL" clId="{4E77B3E1-3366-4E21-A4A0-00058AAC76A0}" dt="2025-04-15T08:43:05.420" v="1789" actId="478"/>
          <ac:spMkLst>
            <pc:docMk/>
            <pc:sldMk cId="2757431154" sldId="4195"/>
            <ac:spMk id="5" creationId="{F99A66E3-84C1-6CE3-0A18-94EBBE4788F6}"/>
          </ac:spMkLst>
        </pc:spChg>
        <pc:spChg chg="add mod">
          <ac:chgData name="Ryterski Finn (HNE US-MI-PB-BO)" userId="efff052d-68b9-4e8d-b65b-45dff653056d" providerId="ADAL" clId="{4E77B3E1-3366-4E21-A4A0-00058AAC76A0}" dt="2025-04-15T08:21:41.893" v="914" actId="1076"/>
          <ac:spMkLst>
            <pc:docMk/>
            <pc:sldMk cId="2757431154" sldId="4195"/>
            <ac:spMk id="6" creationId="{CBC65D71-6BDE-D3FA-6CDA-078AEB8B3E03}"/>
          </ac:spMkLst>
        </pc:spChg>
        <pc:spChg chg="add mod">
          <ac:chgData name="Ryterski Finn (HNE US-MI-PB-BO)" userId="efff052d-68b9-4e8d-b65b-45dff653056d" providerId="ADAL" clId="{4E77B3E1-3366-4E21-A4A0-00058AAC76A0}" dt="2025-04-15T08:21:41.893" v="914" actId="1076"/>
          <ac:spMkLst>
            <pc:docMk/>
            <pc:sldMk cId="2757431154" sldId="4195"/>
            <ac:spMk id="7" creationId="{F71F96B3-A5E7-85B4-D179-BD5F7D7EA82A}"/>
          </ac:spMkLst>
        </pc:spChg>
        <pc:spChg chg="add mod">
          <ac:chgData name="Ryterski Finn (HNE US-MI-PB-BO)" userId="efff052d-68b9-4e8d-b65b-45dff653056d" providerId="ADAL" clId="{4E77B3E1-3366-4E21-A4A0-00058AAC76A0}" dt="2025-04-15T08:21:41.893" v="914" actId="1076"/>
          <ac:spMkLst>
            <pc:docMk/>
            <pc:sldMk cId="2757431154" sldId="4195"/>
            <ac:spMk id="8" creationId="{F0D6931D-2DB6-CA23-3B41-0F4C3BC972E6}"/>
          </ac:spMkLst>
        </pc:spChg>
        <pc:spChg chg="add mod">
          <ac:chgData name="Ryterski Finn (HNE US-MI-PB-BO)" userId="efff052d-68b9-4e8d-b65b-45dff653056d" providerId="ADAL" clId="{4E77B3E1-3366-4E21-A4A0-00058AAC76A0}" dt="2025-04-15T08:21:41.893" v="914" actId="1076"/>
          <ac:spMkLst>
            <pc:docMk/>
            <pc:sldMk cId="2757431154" sldId="4195"/>
            <ac:spMk id="9" creationId="{525CE566-1268-7D71-81AA-B1990144D7A9}"/>
          </ac:spMkLst>
        </pc:spChg>
        <pc:spChg chg="add mod">
          <ac:chgData name="Ryterski Finn (HNE US-MI-PB-BO)" userId="efff052d-68b9-4e8d-b65b-45dff653056d" providerId="ADAL" clId="{4E77B3E1-3366-4E21-A4A0-00058AAC76A0}" dt="2025-04-15T08:21:41.893" v="914" actId="1076"/>
          <ac:spMkLst>
            <pc:docMk/>
            <pc:sldMk cId="2757431154" sldId="4195"/>
            <ac:spMk id="10" creationId="{29229E05-EF3B-ACEC-7485-6DBCA5AF4C37}"/>
          </ac:spMkLst>
        </pc:spChg>
        <pc:spChg chg="add mod">
          <ac:chgData name="Ryterski Finn (HNE US-MI-PB-BO)" userId="efff052d-68b9-4e8d-b65b-45dff653056d" providerId="ADAL" clId="{4E77B3E1-3366-4E21-A4A0-00058AAC76A0}" dt="2025-04-15T08:21:41.893" v="914" actId="1076"/>
          <ac:spMkLst>
            <pc:docMk/>
            <pc:sldMk cId="2757431154" sldId="4195"/>
            <ac:spMk id="11" creationId="{2117D5EE-1DE9-99D4-CBC0-E5EACE547B37}"/>
          </ac:spMkLst>
        </pc:spChg>
        <pc:spChg chg="add mod">
          <ac:chgData name="Ryterski Finn (HNE US-MI-PB-BO)" userId="efff052d-68b9-4e8d-b65b-45dff653056d" providerId="ADAL" clId="{4E77B3E1-3366-4E21-A4A0-00058AAC76A0}" dt="2025-04-15T08:21:41.893" v="914" actId="1076"/>
          <ac:spMkLst>
            <pc:docMk/>
            <pc:sldMk cId="2757431154" sldId="4195"/>
            <ac:spMk id="12" creationId="{8D9CADA5-C4F9-EB36-E79A-4C27FFC73CBC}"/>
          </ac:spMkLst>
        </pc:spChg>
        <pc:spChg chg="add mod">
          <ac:chgData name="Ryterski Finn (HNE US-MI-PB-BO)" userId="efff052d-68b9-4e8d-b65b-45dff653056d" providerId="ADAL" clId="{4E77B3E1-3366-4E21-A4A0-00058AAC76A0}" dt="2025-04-15T08:21:41.893" v="914" actId="1076"/>
          <ac:spMkLst>
            <pc:docMk/>
            <pc:sldMk cId="2757431154" sldId="4195"/>
            <ac:spMk id="14" creationId="{E5E437BE-6EAE-EB6A-F676-4E651C7C4969}"/>
          </ac:spMkLst>
        </pc:spChg>
        <pc:spChg chg="add mod">
          <ac:chgData name="Ryterski Finn (HNE US-MI-PB-BO)" userId="efff052d-68b9-4e8d-b65b-45dff653056d" providerId="ADAL" clId="{4E77B3E1-3366-4E21-A4A0-00058AAC76A0}" dt="2025-04-15T08:21:41.893" v="914" actId="1076"/>
          <ac:spMkLst>
            <pc:docMk/>
            <pc:sldMk cId="2757431154" sldId="4195"/>
            <ac:spMk id="16" creationId="{FDA56572-9063-B6AB-E240-3ECB60E3F76E}"/>
          </ac:spMkLst>
        </pc:spChg>
        <pc:spChg chg="add mod">
          <ac:chgData name="Ryterski Finn (HNE US-MI-PB-BO)" userId="efff052d-68b9-4e8d-b65b-45dff653056d" providerId="ADAL" clId="{4E77B3E1-3366-4E21-A4A0-00058AAC76A0}" dt="2025-04-15T08:21:41.893" v="914" actId="1076"/>
          <ac:spMkLst>
            <pc:docMk/>
            <pc:sldMk cId="2757431154" sldId="4195"/>
            <ac:spMk id="17" creationId="{D6261F5C-555A-65FA-007B-B1B864E00278}"/>
          </ac:spMkLst>
        </pc:spChg>
        <pc:spChg chg="add mod">
          <ac:chgData name="Ryterski Finn (HNE US-MI-PB-BO)" userId="efff052d-68b9-4e8d-b65b-45dff653056d" providerId="ADAL" clId="{4E77B3E1-3366-4E21-A4A0-00058AAC76A0}" dt="2025-04-15T08:21:41.893" v="914" actId="1076"/>
          <ac:spMkLst>
            <pc:docMk/>
            <pc:sldMk cId="2757431154" sldId="4195"/>
            <ac:spMk id="18" creationId="{995B5AE0-FD94-9E00-882D-D06EA22D43C8}"/>
          </ac:spMkLst>
        </pc:spChg>
        <pc:spChg chg="add mod">
          <ac:chgData name="Ryterski Finn (HNE US-MI-PB-BO)" userId="efff052d-68b9-4e8d-b65b-45dff653056d" providerId="ADAL" clId="{4E77B3E1-3366-4E21-A4A0-00058AAC76A0}" dt="2025-04-15T08:21:41.893" v="914" actId="1076"/>
          <ac:spMkLst>
            <pc:docMk/>
            <pc:sldMk cId="2757431154" sldId="4195"/>
            <ac:spMk id="19" creationId="{7ED3227D-B3B3-0BAE-6BED-D6169405685F}"/>
          </ac:spMkLst>
        </pc:spChg>
        <pc:spChg chg="add mod">
          <ac:chgData name="Ryterski Finn (HNE US-MI-PB-BO)" userId="efff052d-68b9-4e8d-b65b-45dff653056d" providerId="ADAL" clId="{4E77B3E1-3366-4E21-A4A0-00058AAC76A0}" dt="2025-04-15T08:21:41.893" v="914" actId="1076"/>
          <ac:spMkLst>
            <pc:docMk/>
            <pc:sldMk cId="2757431154" sldId="4195"/>
            <ac:spMk id="20" creationId="{935DDB0F-6ECE-C0E2-6D83-185CC2B8A8B6}"/>
          </ac:spMkLst>
        </pc:spChg>
        <pc:spChg chg="add mod">
          <ac:chgData name="Ryterski Finn (HNE US-MI-PB-BO)" userId="efff052d-68b9-4e8d-b65b-45dff653056d" providerId="ADAL" clId="{4E77B3E1-3366-4E21-A4A0-00058AAC76A0}" dt="2025-04-15T08:21:41.893" v="914" actId="1076"/>
          <ac:spMkLst>
            <pc:docMk/>
            <pc:sldMk cId="2757431154" sldId="4195"/>
            <ac:spMk id="21" creationId="{47FB7A96-8CCF-3EB0-3BE0-39704E77B082}"/>
          </ac:spMkLst>
        </pc:spChg>
        <pc:spChg chg="add mod">
          <ac:chgData name="Ryterski Finn (HNE US-MI-PB-BO)" userId="efff052d-68b9-4e8d-b65b-45dff653056d" providerId="ADAL" clId="{4E77B3E1-3366-4E21-A4A0-00058AAC76A0}" dt="2025-04-15T08:21:41.893" v="914" actId="1076"/>
          <ac:spMkLst>
            <pc:docMk/>
            <pc:sldMk cId="2757431154" sldId="4195"/>
            <ac:spMk id="22" creationId="{AF981F86-956A-3D9A-FD12-5B9F15AA949F}"/>
          </ac:spMkLst>
        </pc:spChg>
        <pc:spChg chg="add mod">
          <ac:chgData name="Ryterski Finn (HNE US-MI-PB-BO)" userId="efff052d-68b9-4e8d-b65b-45dff653056d" providerId="ADAL" clId="{4E77B3E1-3366-4E21-A4A0-00058AAC76A0}" dt="2025-04-15T08:21:41.893" v="914" actId="1076"/>
          <ac:spMkLst>
            <pc:docMk/>
            <pc:sldMk cId="2757431154" sldId="4195"/>
            <ac:spMk id="23" creationId="{F77556BD-3084-E212-30A6-151134CEB9A4}"/>
          </ac:spMkLst>
        </pc:spChg>
        <pc:spChg chg="add mod">
          <ac:chgData name="Ryterski Finn (HNE US-MI-PB-BO)" userId="efff052d-68b9-4e8d-b65b-45dff653056d" providerId="ADAL" clId="{4E77B3E1-3366-4E21-A4A0-00058AAC76A0}" dt="2025-04-15T08:21:41.893" v="914" actId="1076"/>
          <ac:spMkLst>
            <pc:docMk/>
            <pc:sldMk cId="2757431154" sldId="4195"/>
            <ac:spMk id="24" creationId="{4C584258-4552-9DE9-D4C3-8DBD1E5FA40B}"/>
          </ac:spMkLst>
        </pc:spChg>
        <pc:spChg chg="add mod">
          <ac:chgData name="Ryterski Finn (HNE US-MI-PB-BO)" userId="efff052d-68b9-4e8d-b65b-45dff653056d" providerId="ADAL" clId="{4E77B3E1-3366-4E21-A4A0-00058AAC76A0}" dt="2025-04-15T08:21:41.893" v="914" actId="1076"/>
          <ac:spMkLst>
            <pc:docMk/>
            <pc:sldMk cId="2757431154" sldId="4195"/>
            <ac:spMk id="25" creationId="{21F4701D-A3C9-3CC3-C162-D0C138F94BC6}"/>
          </ac:spMkLst>
        </pc:spChg>
        <pc:spChg chg="add mod">
          <ac:chgData name="Ryterski Finn (HNE US-MI-PB-BO)" userId="efff052d-68b9-4e8d-b65b-45dff653056d" providerId="ADAL" clId="{4E77B3E1-3366-4E21-A4A0-00058AAC76A0}" dt="2025-04-15T08:21:41.893" v="914" actId="1076"/>
          <ac:spMkLst>
            <pc:docMk/>
            <pc:sldMk cId="2757431154" sldId="4195"/>
            <ac:spMk id="26" creationId="{39598EED-5B4A-7E21-AE43-2C52C32228CB}"/>
          </ac:spMkLst>
        </pc:spChg>
        <pc:spChg chg="add mod">
          <ac:chgData name="Ryterski Finn (HNE US-MI-PB-BO)" userId="efff052d-68b9-4e8d-b65b-45dff653056d" providerId="ADAL" clId="{4E77B3E1-3366-4E21-A4A0-00058AAC76A0}" dt="2025-04-15T08:21:41.893" v="914" actId="1076"/>
          <ac:spMkLst>
            <pc:docMk/>
            <pc:sldMk cId="2757431154" sldId="4195"/>
            <ac:spMk id="27" creationId="{F05E56B2-E7F5-7781-8507-CD1F012996DB}"/>
          </ac:spMkLst>
        </pc:spChg>
        <pc:spChg chg="add mod">
          <ac:chgData name="Ryterski Finn (HNE US-MI-PB-BO)" userId="efff052d-68b9-4e8d-b65b-45dff653056d" providerId="ADAL" clId="{4E77B3E1-3366-4E21-A4A0-00058AAC76A0}" dt="2025-04-15T08:21:41.893" v="914" actId="1076"/>
          <ac:spMkLst>
            <pc:docMk/>
            <pc:sldMk cId="2757431154" sldId="4195"/>
            <ac:spMk id="28" creationId="{ED8D77C3-088C-3FEA-EF04-50D064B4BE36}"/>
          </ac:spMkLst>
        </pc:spChg>
        <pc:spChg chg="add mod">
          <ac:chgData name="Ryterski Finn (HNE US-MI-PB-BO)" userId="efff052d-68b9-4e8d-b65b-45dff653056d" providerId="ADAL" clId="{4E77B3E1-3366-4E21-A4A0-00058AAC76A0}" dt="2025-04-15T08:26:22.280" v="922"/>
          <ac:spMkLst>
            <pc:docMk/>
            <pc:sldMk cId="2757431154" sldId="4195"/>
            <ac:spMk id="30" creationId="{B98EFF50-265D-BFCC-D4E7-6334F878AE66}"/>
          </ac:spMkLst>
        </pc:spChg>
        <pc:spChg chg="add mod">
          <ac:chgData name="Ryterski Finn (HNE US-MI-PB-BO)" userId="efff052d-68b9-4e8d-b65b-45dff653056d" providerId="ADAL" clId="{4E77B3E1-3366-4E21-A4A0-00058AAC76A0}" dt="2025-04-15T08:26:22.280" v="922"/>
          <ac:spMkLst>
            <pc:docMk/>
            <pc:sldMk cId="2757431154" sldId="4195"/>
            <ac:spMk id="31" creationId="{F6BEEDCD-E20C-C78E-8DAF-9FE5C3717419}"/>
          </ac:spMkLst>
        </pc:spChg>
        <pc:spChg chg="add mod">
          <ac:chgData name="Ryterski Finn (HNE US-MI-PB-BO)" userId="efff052d-68b9-4e8d-b65b-45dff653056d" providerId="ADAL" clId="{4E77B3E1-3366-4E21-A4A0-00058AAC76A0}" dt="2025-04-15T08:26:22.280" v="922"/>
          <ac:spMkLst>
            <pc:docMk/>
            <pc:sldMk cId="2757431154" sldId="4195"/>
            <ac:spMk id="32" creationId="{99F89BC6-4182-185F-A263-C67C2CD7B90D}"/>
          </ac:spMkLst>
        </pc:spChg>
        <pc:spChg chg="add mod">
          <ac:chgData name="Ryterski Finn (HNE US-MI-PB-BO)" userId="efff052d-68b9-4e8d-b65b-45dff653056d" providerId="ADAL" clId="{4E77B3E1-3366-4E21-A4A0-00058AAC76A0}" dt="2025-04-15T08:26:22.280" v="922"/>
          <ac:spMkLst>
            <pc:docMk/>
            <pc:sldMk cId="2757431154" sldId="4195"/>
            <ac:spMk id="33" creationId="{84C88815-322F-098E-C9C2-2BF30A58CAE7}"/>
          </ac:spMkLst>
        </pc:spChg>
        <pc:spChg chg="add mod">
          <ac:chgData name="Ryterski Finn (HNE US-MI-PB-BO)" userId="efff052d-68b9-4e8d-b65b-45dff653056d" providerId="ADAL" clId="{4E77B3E1-3366-4E21-A4A0-00058AAC76A0}" dt="2025-04-15T08:26:42.302" v="960"/>
          <ac:spMkLst>
            <pc:docMk/>
            <pc:sldMk cId="2757431154" sldId="4195"/>
            <ac:spMk id="34" creationId="{14D1697D-ED6E-2315-AC7B-81C49EE1102F}"/>
          </ac:spMkLst>
        </pc:spChg>
        <pc:spChg chg="add mod">
          <ac:chgData name="Ryterski Finn (HNE US-MI-PB-BO)" userId="efff052d-68b9-4e8d-b65b-45dff653056d" providerId="ADAL" clId="{4E77B3E1-3366-4E21-A4A0-00058AAC76A0}" dt="2025-04-15T08:26:22.280" v="922"/>
          <ac:spMkLst>
            <pc:docMk/>
            <pc:sldMk cId="2757431154" sldId="4195"/>
            <ac:spMk id="35" creationId="{40971E38-034B-ADC5-75AB-BBF1E45348BB}"/>
          </ac:spMkLst>
        </pc:spChg>
        <pc:spChg chg="add mod">
          <ac:chgData name="Ryterski Finn (HNE US-MI-PB-BO)" userId="efff052d-68b9-4e8d-b65b-45dff653056d" providerId="ADAL" clId="{4E77B3E1-3366-4E21-A4A0-00058AAC76A0}" dt="2025-04-15T08:26:22.280" v="922"/>
          <ac:spMkLst>
            <pc:docMk/>
            <pc:sldMk cId="2757431154" sldId="4195"/>
            <ac:spMk id="36" creationId="{0FB46A11-4D55-95B6-9F50-5DA05FE997EB}"/>
          </ac:spMkLst>
        </pc:spChg>
        <pc:spChg chg="add mod">
          <ac:chgData name="Ryterski Finn (HNE US-MI-PB-BO)" userId="efff052d-68b9-4e8d-b65b-45dff653056d" providerId="ADAL" clId="{4E77B3E1-3366-4E21-A4A0-00058AAC76A0}" dt="2025-04-15T08:26:22.280" v="922"/>
          <ac:spMkLst>
            <pc:docMk/>
            <pc:sldMk cId="2757431154" sldId="4195"/>
            <ac:spMk id="37" creationId="{44D646E6-E2AC-B327-69B6-0D82CAE2E2B0}"/>
          </ac:spMkLst>
        </pc:spChg>
        <pc:spChg chg="add mod">
          <ac:chgData name="Ryterski Finn (HNE US-MI-PB-BO)" userId="efff052d-68b9-4e8d-b65b-45dff653056d" providerId="ADAL" clId="{4E77B3E1-3366-4E21-A4A0-00058AAC76A0}" dt="2025-04-15T08:26:22.280" v="922"/>
          <ac:spMkLst>
            <pc:docMk/>
            <pc:sldMk cId="2757431154" sldId="4195"/>
            <ac:spMk id="38" creationId="{CE8DFBC2-E81D-7D5F-77BB-5532613D5A77}"/>
          </ac:spMkLst>
        </pc:spChg>
        <pc:spChg chg="add mod">
          <ac:chgData name="Ryterski Finn (HNE US-MI-PB-BO)" userId="efff052d-68b9-4e8d-b65b-45dff653056d" providerId="ADAL" clId="{4E77B3E1-3366-4E21-A4A0-00058AAC76A0}" dt="2025-04-15T08:26:22.280" v="922"/>
          <ac:spMkLst>
            <pc:docMk/>
            <pc:sldMk cId="2757431154" sldId="4195"/>
            <ac:spMk id="39" creationId="{F18B9794-82DA-5856-995A-E8BD343C715A}"/>
          </ac:spMkLst>
        </pc:spChg>
        <pc:spChg chg="add mod">
          <ac:chgData name="Ryterski Finn (HNE US-MI-PB-BO)" userId="efff052d-68b9-4e8d-b65b-45dff653056d" providerId="ADAL" clId="{4E77B3E1-3366-4E21-A4A0-00058AAC76A0}" dt="2025-04-15T08:26:22.280" v="922"/>
          <ac:spMkLst>
            <pc:docMk/>
            <pc:sldMk cId="2757431154" sldId="4195"/>
            <ac:spMk id="40" creationId="{3725A469-BBC1-7F08-97A4-A77C7AA5419E}"/>
          </ac:spMkLst>
        </pc:spChg>
        <pc:spChg chg="add mod">
          <ac:chgData name="Ryterski Finn (HNE US-MI-PB-BO)" userId="efff052d-68b9-4e8d-b65b-45dff653056d" providerId="ADAL" clId="{4E77B3E1-3366-4E21-A4A0-00058AAC76A0}" dt="2025-04-15T08:26:22.280" v="922"/>
          <ac:spMkLst>
            <pc:docMk/>
            <pc:sldMk cId="2757431154" sldId="4195"/>
            <ac:spMk id="41" creationId="{F2388BEA-097E-1BDB-F03B-C809F10E8A6A}"/>
          </ac:spMkLst>
        </pc:spChg>
        <pc:spChg chg="add mod">
          <ac:chgData name="Ryterski Finn (HNE US-MI-PB-BO)" userId="efff052d-68b9-4e8d-b65b-45dff653056d" providerId="ADAL" clId="{4E77B3E1-3366-4E21-A4A0-00058AAC76A0}" dt="2025-04-15T08:26:22.280" v="922"/>
          <ac:spMkLst>
            <pc:docMk/>
            <pc:sldMk cId="2757431154" sldId="4195"/>
            <ac:spMk id="42" creationId="{5F808BDD-390A-0A4E-7B52-76B2A25A8894}"/>
          </ac:spMkLst>
        </pc:spChg>
        <pc:spChg chg="add mod">
          <ac:chgData name="Ryterski Finn (HNE US-MI-PB-BO)" userId="efff052d-68b9-4e8d-b65b-45dff653056d" providerId="ADAL" clId="{4E77B3E1-3366-4E21-A4A0-00058AAC76A0}" dt="2025-04-15T08:26:22.280" v="922"/>
          <ac:spMkLst>
            <pc:docMk/>
            <pc:sldMk cId="2757431154" sldId="4195"/>
            <ac:spMk id="43" creationId="{B06E5E89-07EA-9043-041F-44E9B062B05F}"/>
          </ac:spMkLst>
        </pc:spChg>
        <pc:spChg chg="add mod">
          <ac:chgData name="Ryterski Finn (HNE US-MI-PB-BO)" userId="efff052d-68b9-4e8d-b65b-45dff653056d" providerId="ADAL" clId="{4E77B3E1-3366-4E21-A4A0-00058AAC76A0}" dt="2025-04-15T08:26:22.280" v="922"/>
          <ac:spMkLst>
            <pc:docMk/>
            <pc:sldMk cId="2757431154" sldId="4195"/>
            <ac:spMk id="45" creationId="{55838C2E-5879-FD89-ADA9-D539CA14AE0D}"/>
          </ac:spMkLst>
        </pc:spChg>
        <pc:spChg chg="add mod">
          <ac:chgData name="Ryterski Finn (HNE US-MI-PB-BO)" userId="efff052d-68b9-4e8d-b65b-45dff653056d" providerId="ADAL" clId="{4E77B3E1-3366-4E21-A4A0-00058AAC76A0}" dt="2025-04-15T08:26:42.302" v="960"/>
          <ac:spMkLst>
            <pc:docMk/>
            <pc:sldMk cId="2757431154" sldId="4195"/>
            <ac:spMk id="47" creationId="{1C57A6B7-8EE5-6A6A-2BAC-BAEB787EAB09}"/>
          </ac:spMkLst>
        </pc:spChg>
        <pc:spChg chg="add mod">
          <ac:chgData name="Ryterski Finn (HNE US-MI-PB-BO)" userId="efff052d-68b9-4e8d-b65b-45dff653056d" providerId="ADAL" clId="{4E77B3E1-3366-4E21-A4A0-00058AAC76A0}" dt="2025-04-15T08:26:22.280" v="922"/>
          <ac:spMkLst>
            <pc:docMk/>
            <pc:sldMk cId="2757431154" sldId="4195"/>
            <ac:spMk id="48" creationId="{D53440DB-3BBD-77C4-3050-4BED487052BD}"/>
          </ac:spMkLst>
        </pc:spChg>
        <pc:spChg chg="add mod">
          <ac:chgData name="Ryterski Finn (HNE US-MI-PB-BO)" userId="efff052d-68b9-4e8d-b65b-45dff653056d" providerId="ADAL" clId="{4E77B3E1-3366-4E21-A4A0-00058AAC76A0}" dt="2025-04-15T08:26:42.302" v="960"/>
          <ac:spMkLst>
            <pc:docMk/>
            <pc:sldMk cId="2757431154" sldId="4195"/>
            <ac:spMk id="49" creationId="{AF9B7BDB-FAD4-8DDA-4035-02B82D1E4746}"/>
          </ac:spMkLst>
        </pc:spChg>
        <pc:spChg chg="add del mod">
          <ac:chgData name="Ryterski Finn (HNE US-MI-PB-BO)" userId="efff052d-68b9-4e8d-b65b-45dff653056d" providerId="ADAL" clId="{4E77B3E1-3366-4E21-A4A0-00058AAC76A0}" dt="2025-04-15T08:29:28.702" v="977" actId="478"/>
          <ac:spMkLst>
            <pc:docMk/>
            <pc:sldMk cId="2757431154" sldId="4195"/>
            <ac:spMk id="51" creationId="{444323A5-E3CB-8E7A-C112-AA9906A56DD1}"/>
          </ac:spMkLst>
        </pc:spChg>
        <pc:spChg chg="add del mod ord">
          <ac:chgData name="Ryterski Finn (HNE US-MI-PB-BO)" userId="efff052d-68b9-4e8d-b65b-45dff653056d" providerId="ADAL" clId="{4E77B3E1-3366-4E21-A4A0-00058AAC76A0}" dt="2025-04-15T08:42:54.628" v="1786" actId="478"/>
          <ac:spMkLst>
            <pc:docMk/>
            <pc:sldMk cId="2757431154" sldId="4195"/>
            <ac:spMk id="52" creationId="{2C899B08-CF82-A89D-19E0-683F00F96169}"/>
          </ac:spMkLst>
        </pc:spChg>
        <pc:spChg chg="add del mod ord">
          <ac:chgData name="Ryterski Finn (HNE US-MI-PB-BO)" userId="efff052d-68b9-4e8d-b65b-45dff653056d" providerId="ADAL" clId="{4E77B3E1-3366-4E21-A4A0-00058AAC76A0}" dt="2025-04-15T08:35:56.311" v="1534" actId="478"/>
          <ac:spMkLst>
            <pc:docMk/>
            <pc:sldMk cId="2757431154" sldId="4195"/>
            <ac:spMk id="53" creationId="{A7991A11-30BE-08D4-373F-ADBA8D607810}"/>
          </ac:spMkLst>
        </pc:spChg>
        <pc:spChg chg="add mod ord">
          <ac:chgData name="Ryterski Finn (HNE US-MI-PB-BO)" userId="efff052d-68b9-4e8d-b65b-45dff653056d" providerId="ADAL" clId="{4E77B3E1-3366-4E21-A4A0-00058AAC76A0}" dt="2025-04-15T08:58:07.244" v="2442" actId="1076"/>
          <ac:spMkLst>
            <pc:docMk/>
            <pc:sldMk cId="2757431154" sldId="4195"/>
            <ac:spMk id="54" creationId="{F3D067D7-7DDE-AB70-9695-A70CB4CD1CDF}"/>
          </ac:spMkLst>
        </pc:spChg>
        <pc:spChg chg="add del mod ord">
          <ac:chgData name="Ryterski Finn (HNE US-MI-PB-BO)" userId="efff052d-68b9-4e8d-b65b-45dff653056d" providerId="ADAL" clId="{4E77B3E1-3366-4E21-A4A0-00058AAC76A0}" dt="2025-04-15T08:47:20.132" v="1907" actId="478"/>
          <ac:spMkLst>
            <pc:docMk/>
            <pc:sldMk cId="2757431154" sldId="4195"/>
            <ac:spMk id="55" creationId="{6BD60544-8C00-EC5A-DAAF-1435EA4411ED}"/>
          </ac:spMkLst>
        </pc:spChg>
        <pc:spChg chg="add del mod ord">
          <ac:chgData name="Ryterski Finn (HNE US-MI-PB-BO)" userId="efff052d-68b9-4e8d-b65b-45dff653056d" providerId="ADAL" clId="{4E77B3E1-3366-4E21-A4A0-00058AAC76A0}" dt="2025-04-15T08:34:36.207" v="1329" actId="478"/>
          <ac:spMkLst>
            <pc:docMk/>
            <pc:sldMk cId="2757431154" sldId="4195"/>
            <ac:spMk id="56" creationId="{8D8D0650-B860-9E5D-5B70-C7784F66434A}"/>
          </ac:spMkLst>
        </pc:spChg>
        <pc:spChg chg="add mod ord">
          <ac:chgData name="Ryterski Finn (HNE US-MI-PB-BO)" userId="efff052d-68b9-4e8d-b65b-45dff653056d" providerId="ADAL" clId="{4E77B3E1-3366-4E21-A4A0-00058AAC76A0}" dt="2025-04-15T08:58:07.244" v="2442" actId="1076"/>
          <ac:spMkLst>
            <pc:docMk/>
            <pc:sldMk cId="2757431154" sldId="4195"/>
            <ac:spMk id="57" creationId="{70C59DAA-E28B-9B00-1110-8659C914E74B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63" creationId="{CC0EDA4E-89D6-740C-2548-DD201C476206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64" creationId="{5F9131AD-8024-11F7-9967-4C0BF95D1C8F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65" creationId="{329F8AAF-B1F7-091C-3508-F066EF45893F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66" creationId="{3C7D9BA6-8155-0358-BFFB-3CCBA3D4B6E2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67" creationId="{292D1D7D-BE23-184A-5D4F-0B050A96954E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68" creationId="{5D7E3DA1-29F3-E410-B254-E106BF802402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69" creationId="{1B237235-0017-AC2E-70A3-DCB44A8F63FE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70" creationId="{5EBB54ED-B216-3C96-74AA-0DAC0CD63A15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71" creationId="{007AB8FB-7F12-2786-3BA6-B833BC9F4F01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72" creationId="{028A0049-E847-E27B-668C-886A5CDD1D50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73" creationId="{CA35D7DA-C63B-D7A1-BCA7-1948648A525E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75" creationId="{8911AA6C-9EC5-A97C-DF5F-9FC37A969A01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76" creationId="{395E2A9A-5459-DDC4-CD2B-73D3A3AB0EC9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77" creationId="{4ADF075C-5D04-30DD-728F-BB2E8647240D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78" creationId="{F85EB98E-397F-DCB6-8857-BA7BAA93E272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79" creationId="{57434059-0111-706D-F48A-B560550551D8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80" creationId="{B0600DAB-8297-6033-10EE-1114F2D9C8C3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81" creationId="{3C4A0A78-0F10-D6FE-7AFE-18BF45F2656E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82" creationId="{E43D3916-7783-ACB0-5726-6DE8A6C2B008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83" creationId="{298F9528-174F-EA68-FC72-16391160F3E0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84" creationId="{EBFEDB01-18CA-94D9-6534-E4FBB6A232E9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85" creationId="{45582DF8-F82E-ED1B-83D4-CB4CCAE2A23F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86" creationId="{BE665F95-1ACE-9C9D-92C0-109EC1F79F89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87" creationId="{7E2A9C81-E5CE-5E81-6E4A-A5F7FB7575FD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88" creationId="{44257340-5C1F-4758-C980-530084A49564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89" creationId="{505FA680-C2A7-1522-48DD-8857CE6A5137}"/>
          </ac:spMkLst>
        </pc:spChg>
        <pc:spChg chg="mod">
          <ac:chgData name="Ryterski Finn (HNE US-MI-PB-BO)" userId="efff052d-68b9-4e8d-b65b-45dff653056d" providerId="ADAL" clId="{4E77B3E1-3366-4E21-A4A0-00058AAC76A0}" dt="2025-04-15T08:29:20.135" v="976"/>
          <ac:spMkLst>
            <pc:docMk/>
            <pc:sldMk cId="2757431154" sldId="4195"/>
            <ac:spMk id="90" creationId="{A7FB986C-239C-1CFF-C895-A1F09FF97DD7}"/>
          </ac:spMkLst>
        </pc:spChg>
        <pc:spChg chg="add del mod ord">
          <ac:chgData name="Ryterski Finn (HNE US-MI-PB-BO)" userId="efff052d-68b9-4e8d-b65b-45dff653056d" providerId="ADAL" clId="{4E77B3E1-3366-4E21-A4A0-00058AAC76A0}" dt="2025-04-15T08:34:49.207" v="1335" actId="478"/>
          <ac:spMkLst>
            <pc:docMk/>
            <pc:sldMk cId="2757431154" sldId="4195"/>
            <ac:spMk id="91" creationId="{04AB29CF-9AFF-23ED-7662-85BEF1A66C20}"/>
          </ac:spMkLst>
        </pc:spChg>
        <pc:spChg chg="add mod ord">
          <ac:chgData name="Ryterski Finn (HNE US-MI-PB-BO)" userId="efff052d-68b9-4e8d-b65b-45dff653056d" providerId="ADAL" clId="{4E77B3E1-3366-4E21-A4A0-00058AAC76A0}" dt="2025-04-15T08:58:07.244" v="2442" actId="1076"/>
          <ac:spMkLst>
            <pc:docMk/>
            <pc:sldMk cId="2757431154" sldId="4195"/>
            <ac:spMk id="93" creationId="{C0055425-C436-B479-32DC-8AE97D4DB912}"/>
          </ac:spMkLst>
        </pc:spChg>
        <pc:spChg chg="add del mod">
          <ac:chgData name="Ryterski Finn (HNE US-MI-PB-BO)" userId="efff052d-68b9-4e8d-b65b-45dff653056d" providerId="ADAL" clId="{4E77B3E1-3366-4E21-A4A0-00058AAC76A0}" dt="2025-04-15T08:29:43.110" v="984" actId="478"/>
          <ac:spMkLst>
            <pc:docMk/>
            <pc:sldMk cId="2757431154" sldId="4195"/>
            <ac:spMk id="94" creationId="{B10FB5A1-5B8B-5D75-07A3-7D15843B7FC5}"/>
          </ac:spMkLst>
        </pc:spChg>
        <pc:spChg chg="add del mod ord">
          <ac:chgData name="Ryterski Finn (HNE US-MI-PB-BO)" userId="efff052d-68b9-4e8d-b65b-45dff653056d" providerId="ADAL" clId="{4E77B3E1-3366-4E21-A4A0-00058AAC76A0}" dt="2025-04-15T08:35:55.134" v="1533" actId="478"/>
          <ac:spMkLst>
            <pc:docMk/>
            <pc:sldMk cId="2757431154" sldId="4195"/>
            <ac:spMk id="95" creationId="{67F3BB96-F5FC-F2B2-5D0B-5E2C445841FD}"/>
          </ac:spMkLst>
        </pc:spChg>
        <pc:spChg chg="add del mod">
          <ac:chgData name="Ryterski Finn (HNE US-MI-PB-BO)" userId="efff052d-68b9-4e8d-b65b-45dff653056d" providerId="ADAL" clId="{4E77B3E1-3366-4E21-A4A0-00058AAC76A0}" dt="2025-04-15T08:29:41.502" v="983" actId="478"/>
          <ac:spMkLst>
            <pc:docMk/>
            <pc:sldMk cId="2757431154" sldId="4195"/>
            <ac:spMk id="96" creationId="{6046FF50-F7D5-5D30-4127-F36CA66572D9}"/>
          </ac:spMkLst>
        </pc:spChg>
        <pc:spChg chg="add del mod ord">
          <ac:chgData name="Ryterski Finn (HNE US-MI-PB-BO)" userId="efff052d-68b9-4e8d-b65b-45dff653056d" providerId="ADAL" clId="{4E77B3E1-3366-4E21-A4A0-00058AAC76A0}" dt="2025-04-15T08:38:01.491" v="1674" actId="478"/>
          <ac:spMkLst>
            <pc:docMk/>
            <pc:sldMk cId="2757431154" sldId="4195"/>
            <ac:spMk id="97" creationId="{FB8BDBC8-E485-FA66-2995-23C3C88C2495}"/>
          </ac:spMkLst>
        </pc:spChg>
        <pc:spChg chg="add mod ord">
          <ac:chgData name="Ryterski Finn (HNE US-MI-PB-BO)" userId="efff052d-68b9-4e8d-b65b-45dff653056d" providerId="ADAL" clId="{4E77B3E1-3366-4E21-A4A0-00058AAC76A0}" dt="2025-04-15T11:07:58.463" v="3318" actId="1076"/>
          <ac:spMkLst>
            <pc:docMk/>
            <pc:sldMk cId="2757431154" sldId="4195"/>
            <ac:spMk id="98" creationId="{A00DF5AA-4D39-3143-AF7E-2A337B74C020}"/>
          </ac:spMkLst>
        </pc:spChg>
        <pc:spChg chg="add mod ord">
          <ac:chgData name="Ryterski Finn (HNE US-MI-PB-BO)" userId="efff052d-68b9-4e8d-b65b-45dff653056d" providerId="ADAL" clId="{4E77B3E1-3366-4E21-A4A0-00058AAC76A0}" dt="2025-04-15T08:58:07.244" v="2442" actId="1076"/>
          <ac:spMkLst>
            <pc:docMk/>
            <pc:sldMk cId="2757431154" sldId="4195"/>
            <ac:spMk id="99" creationId="{7CA6CAFF-CEC2-4A01-C0F8-B8936BDA0311}"/>
          </ac:spMkLst>
        </pc:spChg>
        <pc:spChg chg="add mod ord">
          <ac:chgData name="Ryterski Finn (HNE US-MI-PB-BO)" userId="efff052d-68b9-4e8d-b65b-45dff653056d" providerId="ADAL" clId="{4E77B3E1-3366-4E21-A4A0-00058AAC76A0}" dt="2025-04-15T08:58:07.244" v="2442" actId="1076"/>
          <ac:spMkLst>
            <pc:docMk/>
            <pc:sldMk cId="2757431154" sldId="4195"/>
            <ac:spMk id="100" creationId="{DB5D9308-2278-79AA-65D7-9500E074700A}"/>
          </ac:spMkLst>
        </pc:spChg>
        <pc:spChg chg="add del mod ord">
          <ac:chgData name="Ryterski Finn (HNE US-MI-PB-BO)" userId="efff052d-68b9-4e8d-b65b-45dff653056d" providerId="ADAL" clId="{4E77B3E1-3366-4E21-A4A0-00058AAC76A0}" dt="2025-04-15T08:41:46.297" v="1765" actId="478"/>
          <ac:spMkLst>
            <pc:docMk/>
            <pc:sldMk cId="2757431154" sldId="4195"/>
            <ac:spMk id="101" creationId="{EFE6CDF9-1CE2-AA1A-5B7D-369EAD239A77}"/>
          </ac:spMkLst>
        </pc:spChg>
        <pc:spChg chg="add mod ord">
          <ac:chgData name="Ryterski Finn (HNE US-MI-PB-BO)" userId="efff052d-68b9-4e8d-b65b-45dff653056d" providerId="ADAL" clId="{4E77B3E1-3366-4E21-A4A0-00058AAC76A0}" dt="2025-04-15T08:58:07.244" v="2442" actId="1076"/>
          <ac:spMkLst>
            <pc:docMk/>
            <pc:sldMk cId="2757431154" sldId="4195"/>
            <ac:spMk id="102" creationId="{30BA2E8A-7C70-C566-CA93-FA5DFE2C8449}"/>
          </ac:spMkLst>
        </pc:spChg>
        <pc:spChg chg="add mod ord">
          <ac:chgData name="Ryterski Finn (HNE US-MI-PB-BO)" userId="efff052d-68b9-4e8d-b65b-45dff653056d" providerId="ADAL" clId="{4E77B3E1-3366-4E21-A4A0-00058AAC76A0}" dt="2025-04-15T08:58:07.244" v="2442" actId="1076"/>
          <ac:spMkLst>
            <pc:docMk/>
            <pc:sldMk cId="2757431154" sldId="4195"/>
            <ac:spMk id="103" creationId="{EC032A36-596A-430B-059F-B47E1EA22FB0}"/>
          </ac:spMkLst>
        </pc:spChg>
        <pc:spChg chg="add del mod ord">
          <ac:chgData name="Ryterski Finn (HNE US-MI-PB-BO)" userId="efff052d-68b9-4e8d-b65b-45dff653056d" providerId="ADAL" clId="{4E77B3E1-3366-4E21-A4A0-00058AAC76A0}" dt="2025-04-15T08:41:45.794" v="1763" actId="478"/>
          <ac:spMkLst>
            <pc:docMk/>
            <pc:sldMk cId="2757431154" sldId="4195"/>
            <ac:spMk id="104" creationId="{1D4983AA-BFBC-8016-FFEA-E3D6AE11002C}"/>
          </ac:spMkLst>
        </pc:spChg>
        <pc:spChg chg="add del mod">
          <ac:chgData name="Ryterski Finn (HNE US-MI-PB-BO)" userId="efff052d-68b9-4e8d-b65b-45dff653056d" providerId="ADAL" clId="{4E77B3E1-3366-4E21-A4A0-00058AAC76A0}" dt="2025-04-15T08:31:31.548" v="1059" actId="478"/>
          <ac:spMkLst>
            <pc:docMk/>
            <pc:sldMk cId="2757431154" sldId="4195"/>
            <ac:spMk id="105" creationId="{6A1E6016-46B6-B6EE-6324-D7C4438B80DF}"/>
          </ac:spMkLst>
        </pc:spChg>
        <pc:spChg chg="add del mod ord">
          <ac:chgData name="Ryterski Finn (HNE US-MI-PB-BO)" userId="efff052d-68b9-4e8d-b65b-45dff653056d" providerId="ADAL" clId="{4E77B3E1-3366-4E21-A4A0-00058AAC76A0}" dt="2025-04-15T08:35:52.873" v="1531" actId="478"/>
          <ac:spMkLst>
            <pc:docMk/>
            <pc:sldMk cId="2757431154" sldId="4195"/>
            <ac:spMk id="106" creationId="{75C4D1B0-0A45-1064-020F-1609B283C43C}"/>
          </ac:spMkLst>
        </pc:spChg>
        <pc:spChg chg="add del mod">
          <ac:chgData name="Ryterski Finn (HNE US-MI-PB-BO)" userId="efff052d-68b9-4e8d-b65b-45dff653056d" providerId="ADAL" clId="{4E77B3E1-3366-4E21-A4A0-00058AAC76A0}" dt="2025-04-15T08:31:13.332" v="1013" actId="478"/>
          <ac:spMkLst>
            <pc:docMk/>
            <pc:sldMk cId="2757431154" sldId="4195"/>
            <ac:spMk id="107" creationId="{5FA25D7B-3272-8106-7C9E-A14AE5AFDB09}"/>
          </ac:spMkLst>
        </pc:spChg>
        <pc:spChg chg="add mod">
          <ac:chgData name="Ryterski Finn (HNE US-MI-PB-BO)" userId="efff052d-68b9-4e8d-b65b-45dff653056d" providerId="ADAL" clId="{4E77B3E1-3366-4E21-A4A0-00058AAC76A0}" dt="2025-04-15T08:29:43.381" v="985"/>
          <ac:spMkLst>
            <pc:docMk/>
            <pc:sldMk cId="2757431154" sldId="4195"/>
            <ac:spMk id="108" creationId="{0A8B1BD5-0704-81E8-6109-352CCDFF2463}"/>
          </ac:spMkLst>
        </pc:spChg>
        <pc:spChg chg="add mod">
          <ac:chgData name="Ryterski Finn (HNE US-MI-PB-BO)" userId="efff052d-68b9-4e8d-b65b-45dff653056d" providerId="ADAL" clId="{4E77B3E1-3366-4E21-A4A0-00058AAC76A0}" dt="2025-04-15T08:29:43.381" v="985"/>
          <ac:spMkLst>
            <pc:docMk/>
            <pc:sldMk cId="2757431154" sldId="4195"/>
            <ac:spMk id="109" creationId="{EBA2B05A-0308-36F3-B3EA-DD21E79AD613}"/>
          </ac:spMkLst>
        </pc:spChg>
        <pc:spChg chg="add mod">
          <ac:chgData name="Ryterski Finn (HNE US-MI-PB-BO)" userId="efff052d-68b9-4e8d-b65b-45dff653056d" providerId="ADAL" clId="{4E77B3E1-3366-4E21-A4A0-00058AAC76A0}" dt="2025-04-15T08:29:43.381" v="985"/>
          <ac:spMkLst>
            <pc:docMk/>
            <pc:sldMk cId="2757431154" sldId="4195"/>
            <ac:spMk id="110" creationId="{C01F2CED-17E1-04D1-C887-CCC9F29CC6DF}"/>
          </ac:spMkLst>
        </pc:spChg>
        <pc:spChg chg="add mod">
          <ac:chgData name="Ryterski Finn (HNE US-MI-PB-BO)" userId="efff052d-68b9-4e8d-b65b-45dff653056d" providerId="ADAL" clId="{4E77B3E1-3366-4E21-A4A0-00058AAC76A0}" dt="2025-04-15T08:29:43.381" v="985"/>
          <ac:spMkLst>
            <pc:docMk/>
            <pc:sldMk cId="2757431154" sldId="4195"/>
            <ac:spMk id="111" creationId="{C852230B-04DE-E7B7-1077-EA61A3ACF42A}"/>
          </ac:spMkLst>
        </pc:spChg>
        <pc:spChg chg="add del mod ord">
          <ac:chgData name="Ryterski Finn (HNE US-MI-PB-BO)" userId="efff052d-68b9-4e8d-b65b-45dff653056d" providerId="ADAL" clId="{4E77B3E1-3366-4E21-A4A0-00058AAC76A0}" dt="2025-04-15T08:35:49.216" v="1528" actId="478"/>
          <ac:spMkLst>
            <pc:docMk/>
            <pc:sldMk cId="2757431154" sldId="4195"/>
            <ac:spMk id="112" creationId="{47242738-6261-12B3-EC4B-534EE3E8F1E9}"/>
          </ac:spMkLst>
        </pc:spChg>
        <pc:spChg chg="add del mod ord">
          <ac:chgData name="Ryterski Finn (HNE US-MI-PB-BO)" userId="efff052d-68b9-4e8d-b65b-45dff653056d" providerId="ADAL" clId="{4E77B3E1-3366-4E21-A4A0-00058AAC76A0}" dt="2025-04-15T08:58:07.244" v="2442" actId="1076"/>
          <ac:spMkLst>
            <pc:docMk/>
            <pc:sldMk cId="2757431154" sldId="4195"/>
            <ac:spMk id="113" creationId="{E51E447C-A9AC-6551-BD79-3DF4DEBD7C1F}"/>
          </ac:spMkLst>
        </pc:spChg>
        <pc:spChg chg="add del mod ord">
          <ac:chgData name="Ryterski Finn (HNE US-MI-PB-BO)" userId="efff052d-68b9-4e8d-b65b-45dff653056d" providerId="ADAL" clId="{4E77B3E1-3366-4E21-A4A0-00058AAC76A0}" dt="2025-04-15T08:35:53.807" v="1532" actId="478"/>
          <ac:spMkLst>
            <pc:docMk/>
            <pc:sldMk cId="2757431154" sldId="4195"/>
            <ac:spMk id="114" creationId="{2BC1BB77-22B4-4FBF-F89E-A71D4C54F840}"/>
          </ac:spMkLst>
        </pc:spChg>
        <pc:spChg chg="add del mod ord">
          <ac:chgData name="Ryterski Finn (HNE US-MI-PB-BO)" userId="efff052d-68b9-4e8d-b65b-45dff653056d" providerId="ADAL" clId="{4E77B3E1-3366-4E21-A4A0-00058AAC76A0}" dt="2025-04-15T08:58:07.244" v="2442" actId="1076"/>
          <ac:spMkLst>
            <pc:docMk/>
            <pc:sldMk cId="2757431154" sldId="4195"/>
            <ac:spMk id="115" creationId="{F637BE52-DFA6-E83C-85EB-9A1981BD4EAA}"/>
          </ac:spMkLst>
        </pc:spChg>
        <pc:spChg chg="add del mod ord">
          <ac:chgData name="Ryterski Finn (HNE US-MI-PB-BO)" userId="efff052d-68b9-4e8d-b65b-45dff653056d" providerId="ADAL" clId="{4E77B3E1-3366-4E21-A4A0-00058AAC76A0}" dt="2025-04-15T08:47:18.932" v="1906" actId="478"/>
          <ac:spMkLst>
            <pc:docMk/>
            <pc:sldMk cId="2757431154" sldId="4195"/>
            <ac:spMk id="116" creationId="{8F1CA272-0132-5CC8-DAD8-52838E20E402}"/>
          </ac:spMkLst>
        </pc:spChg>
        <pc:spChg chg="add mod ord">
          <ac:chgData name="Ryterski Finn (HNE US-MI-PB-BO)" userId="efff052d-68b9-4e8d-b65b-45dff653056d" providerId="ADAL" clId="{4E77B3E1-3366-4E21-A4A0-00058AAC76A0}" dt="2025-04-15T08:58:07.244" v="2442" actId="1076"/>
          <ac:spMkLst>
            <pc:docMk/>
            <pc:sldMk cId="2757431154" sldId="4195"/>
            <ac:spMk id="117" creationId="{121F280D-9353-2C32-8FBE-68F78FFE616A}"/>
          </ac:spMkLst>
        </pc:spChg>
        <pc:spChg chg="add del mod ord">
          <ac:chgData name="Ryterski Finn (HNE US-MI-PB-BO)" userId="efff052d-68b9-4e8d-b65b-45dff653056d" providerId="ADAL" clId="{4E77B3E1-3366-4E21-A4A0-00058AAC76A0}" dt="2025-04-15T08:36:27.543" v="1597" actId="478"/>
          <ac:spMkLst>
            <pc:docMk/>
            <pc:sldMk cId="2757431154" sldId="4195"/>
            <ac:spMk id="121" creationId="{3BBF451A-C79D-0E73-D32E-B7D7A3B7EBB4}"/>
          </ac:spMkLst>
        </pc:spChg>
        <pc:spChg chg="add del mod ord">
          <ac:chgData name="Ryterski Finn (HNE US-MI-PB-BO)" userId="efff052d-68b9-4e8d-b65b-45dff653056d" providerId="ADAL" clId="{4E77B3E1-3366-4E21-A4A0-00058AAC76A0}" dt="2025-04-15T08:58:07.244" v="2442" actId="1076"/>
          <ac:spMkLst>
            <pc:docMk/>
            <pc:sldMk cId="2757431154" sldId="4195"/>
            <ac:spMk id="122" creationId="{D0A152E4-EEC4-CE19-2343-3F732AFA1E2A}"/>
          </ac:spMkLst>
        </pc:spChg>
        <pc:spChg chg="add del mod ord">
          <ac:chgData name="Ryterski Finn (HNE US-MI-PB-BO)" userId="efff052d-68b9-4e8d-b65b-45dff653056d" providerId="ADAL" clId="{4E77B3E1-3366-4E21-A4A0-00058AAC76A0}" dt="2025-04-15T08:58:07.244" v="2442" actId="1076"/>
          <ac:spMkLst>
            <pc:docMk/>
            <pc:sldMk cId="2757431154" sldId="4195"/>
            <ac:spMk id="123" creationId="{2061D0C1-0090-2F95-778A-36EAADEB9CCA}"/>
          </ac:spMkLst>
        </pc:spChg>
        <pc:spChg chg="add del mod ord">
          <ac:chgData name="Ryterski Finn (HNE US-MI-PB-BO)" userId="efff052d-68b9-4e8d-b65b-45dff653056d" providerId="ADAL" clId="{4E77B3E1-3366-4E21-A4A0-00058AAC76A0}" dt="2025-04-15T08:41:46.691" v="1766" actId="478"/>
          <ac:spMkLst>
            <pc:docMk/>
            <pc:sldMk cId="2757431154" sldId="4195"/>
            <ac:spMk id="124" creationId="{0A0DDFCB-2885-CCAC-8BEE-35231925176F}"/>
          </ac:spMkLst>
        </pc:spChg>
        <pc:spChg chg="add del mod ord">
          <ac:chgData name="Ryterski Finn (HNE US-MI-PB-BO)" userId="efff052d-68b9-4e8d-b65b-45dff653056d" providerId="ADAL" clId="{4E77B3E1-3366-4E21-A4A0-00058AAC76A0}" dt="2025-04-15T08:58:07.244" v="2442" actId="1076"/>
          <ac:spMkLst>
            <pc:docMk/>
            <pc:sldMk cId="2757431154" sldId="4195"/>
            <ac:spMk id="125" creationId="{0AC9A974-877D-C14E-05AF-EEA6A715E7E4}"/>
          </ac:spMkLst>
        </pc:spChg>
        <pc:spChg chg="add mod ord">
          <ac:chgData name="Ryterski Finn (HNE US-MI-PB-BO)" userId="efff052d-68b9-4e8d-b65b-45dff653056d" providerId="ADAL" clId="{4E77B3E1-3366-4E21-A4A0-00058AAC76A0}" dt="2025-04-15T08:58:07.244" v="2442" actId="1076"/>
          <ac:spMkLst>
            <pc:docMk/>
            <pc:sldMk cId="2757431154" sldId="4195"/>
            <ac:spMk id="126" creationId="{6EDF2B26-00AC-B983-D51B-6C82919408BE}"/>
          </ac:spMkLst>
        </pc:spChg>
        <pc:spChg chg="add del mod">
          <ac:chgData name="Ryterski Finn (HNE US-MI-PB-BO)" userId="efff052d-68b9-4e8d-b65b-45dff653056d" providerId="ADAL" clId="{4E77B3E1-3366-4E21-A4A0-00058AAC76A0}" dt="2025-04-15T08:42:25.699" v="1779" actId="478"/>
          <ac:spMkLst>
            <pc:docMk/>
            <pc:sldMk cId="2757431154" sldId="4195"/>
            <ac:spMk id="127" creationId="{B56ED8EE-04BD-8346-AF9B-B5A743F01F17}"/>
          </ac:spMkLst>
        </pc:spChg>
        <pc:spChg chg="add del mod">
          <ac:chgData name="Ryterski Finn (HNE US-MI-PB-BO)" userId="efff052d-68b9-4e8d-b65b-45dff653056d" providerId="ADAL" clId="{4E77B3E1-3366-4E21-A4A0-00058AAC76A0}" dt="2025-04-15T08:42:21.531" v="1777" actId="478"/>
          <ac:spMkLst>
            <pc:docMk/>
            <pc:sldMk cId="2757431154" sldId="4195"/>
            <ac:spMk id="128" creationId="{C4024811-242D-D5FF-CDF2-530582C0A043}"/>
          </ac:spMkLst>
        </pc:spChg>
        <pc:spChg chg="add mod">
          <ac:chgData name="Ryterski Finn (HNE US-MI-PB-BO)" userId="efff052d-68b9-4e8d-b65b-45dff653056d" providerId="ADAL" clId="{4E77B3E1-3366-4E21-A4A0-00058AAC76A0}" dt="2025-04-15T08:42:44.108" v="1781"/>
          <ac:spMkLst>
            <pc:docMk/>
            <pc:sldMk cId="2757431154" sldId="4195"/>
            <ac:spMk id="129" creationId="{C8690BD8-36AD-C0C9-9156-B30B79218C5C}"/>
          </ac:spMkLst>
        </pc:spChg>
        <pc:spChg chg="add del mod">
          <ac:chgData name="Ryterski Finn (HNE US-MI-PB-BO)" userId="efff052d-68b9-4e8d-b65b-45dff653056d" providerId="ADAL" clId="{4E77B3E1-3366-4E21-A4A0-00058AAC76A0}" dt="2025-04-15T08:42:48.493" v="1783" actId="478"/>
          <ac:spMkLst>
            <pc:docMk/>
            <pc:sldMk cId="2757431154" sldId="4195"/>
            <ac:spMk id="130" creationId="{0DC3381B-7A1B-910A-3F1E-206DB0A35CD5}"/>
          </ac:spMkLst>
        </pc:spChg>
        <pc:spChg chg="add del mod ord">
          <ac:chgData name="Ryterski Finn (HNE US-MI-PB-BO)" userId="efff052d-68b9-4e8d-b65b-45dff653056d" providerId="ADAL" clId="{4E77B3E1-3366-4E21-A4A0-00058AAC76A0}" dt="2025-04-15T08:58:07.244" v="2442" actId="1076"/>
          <ac:spMkLst>
            <pc:docMk/>
            <pc:sldMk cId="2757431154" sldId="4195"/>
            <ac:spMk id="131" creationId="{101FDDDC-908B-6CC0-661A-0ED0C7EABE55}"/>
          </ac:spMkLst>
        </pc:spChg>
        <pc:spChg chg="add mod ord">
          <ac:chgData name="Ryterski Finn (HNE US-MI-PB-BO)" userId="efff052d-68b9-4e8d-b65b-45dff653056d" providerId="ADAL" clId="{4E77B3E1-3366-4E21-A4A0-00058AAC76A0}" dt="2025-04-15T08:58:07.244" v="2442" actId="1076"/>
          <ac:spMkLst>
            <pc:docMk/>
            <pc:sldMk cId="2757431154" sldId="4195"/>
            <ac:spMk id="132" creationId="{A80FD770-1EEA-83F3-71D3-8B422BEB6292}"/>
          </ac:spMkLst>
        </pc:spChg>
        <pc:spChg chg="add del mod ord">
          <ac:chgData name="Ryterski Finn (HNE US-MI-PB-BO)" userId="efff052d-68b9-4e8d-b65b-45dff653056d" providerId="ADAL" clId="{4E77B3E1-3366-4E21-A4A0-00058AAC76A0}" dt="2025-04-15T08:46:51.446" v="1895" actId="478"/>
          <ac:spMkLst>
            <pc:docMk/>
            <pc:sldMk cId="2757431154" sldId="4195"/>
            <ac:spMk id="133" creationId="{3B19A688-94C3-6FC9-8FF7-615A26B2D190}"/>
          </ac:spMkLst>
        </pc:spChg>
        <pc:spChg chg="add del mod">
          <ac:chgData name="Ryterski Finn (HNE US-MI-PB-BO)" userId="efff052d-68b9-4e8d-b65b-45dff653056d" providerId="ADAL" clId="{4E77B3E1-3366-4E21-A4A0-00058AAC76A0}" dt="2025-04-15T08:48:10.860" v="1918" actId="478"/>
          <ac:spMkLst>
            <pc:docMk/>
            <pc:sldMk cId="2757431154" sldId="4195"/>
            <ac:spMk id="134" creationId="{580468D7-4659-23A0-B12F-B963839D0F9E}"/>
          </ac:spMkLst>
        </pc:spChg>
        <pc:spChg chg="add del mod">
          <ac:chgData name="Ryterski Finn (HNE US-MI-PB-BO)" userId="efff052d-68b9-4e8d-b65b-45dff653056d" providerId="ADAL" clId="{4E77B3E1-3366-4E21-A4A0-00058AAC76A0}" dt="2025-04-15T08:49:08.003" v="1930" actId="478"/>
          <ac:spMkLst>
            <pc:docMk/>
            <pc:sldMk cId="2757431154" sldId="4195"/>
            <ac:spMk id="136" creationId="{9E6D8A28-D383-9940-43D8-2CD806C6FD53}"/>
          </ac:spMkLst>
        </pc:spChg>
        <pc:spChg chg="add mod">
          <ac:chgData name="Ryterski Finn (HNE US-MI-PB-BO)" userId="efff052d-68b9-4e8d-b65b-45dff653056d" providerId="ADAL" clId="{4E77B3E1-3366-4E21-A4A0-00058AAC76A0}" dt="2025-04-15T08:58:07.244" v="2442" actId="1076"/>
          <ac:spMkLst>
            <pc:docMk/>
            <pc:sldMk cId="2757431154" sldId="4195"/>
            <ac:spMk id="137" creationId="{ABDD1F21-3BD9-9002-0941-E695DF2C53DA}"/>
          </ac:spMkLst>
        </pc:spChg>
        <pc:spChg chg="add mod">
          <ac:chgData name="Ryterski Finn (HNE US-MI-PB-BO)" userId="efff052d-68b9-4e8d-b65b-45dff653056d" providerId="ADAL" clId="{4E77B3E1-3366-4E21-A4A0-00058AAC76A0}" dt="2025-04-15T08:58:07.244" v="2442" actId="1076"/>
          <ac:spMkLst>
            <pc:docMk/>
            <pc:sldMk cId="2757431154" sldId="4195"/>
            <ac:spMk id="138" creationId="{866DA0AF-657A-55E6-8D80-DC03E5BBADB9}"/>
          </ac:spMkLst>
        </pc:spChg>
        <pc:spChg chg="add mod">
          <ac:chgData name="Ryterski Finn (HNE US-MI-PB-BO)" userId="efff052d-68b9-4e8d-b65b-45dff653056d" providerId="ADAL" clId="{4E77B3E1-3366-4E21-A4A0-00058AAC76A0}" dt="2025-04-15T08:58:51.873" v="2562" actId="948"/>
          <ac:spMkLst>
            <pc:docMk/>
            <pc:sldMk cId="2757431154" sldId="4195"/>
            <ac:spMk id="141" creationId="{B2647967-76AD-C77D-73BA-2F8242160E56}"/>
          </ac:spMkLst>
        </pc:spChg>
        <pc:grpChg chg="add mod ord">
          <ac:chgData name="Ryterski Finn (HNE US-MI-PB-BO)" userId="efff052d-68b9-4e8d-b65b-45dff653056d" providerId="ADAL" clId="{4E77B3E1-3366-4E21-A4A0-00058AAC76A0}" dt="2025-04-15T08:58:07.244" v="2442" actId="1076"/>
          <ac:grpSpMkLst>
            <pc:docMk/>
            <pc:sldMk cId="2757431154" sldId="4195"/>
            <ac:grpSpMk id="59" creationId="{7E2A7D24-C9C1-47AA-0090-9DCC6EBD8F74}"/>
          </ac:grpSpMkLst>
        </pc:grpChg>
        <pc:grpChg chg="mod">
          <ac:chgData name="Ryterski Finn (HNE US-MI-PB-BO)" userId="efff052d-68b9-4e8d-b65b-45dff653056d" providerId="ADAL" clId="{4E77B3E1-3366-4E21-A4A0-00058AAC76A0}" dt="2025-04-15T08:29:20.135" v="976"/>
          <ac:grpSpMkLst>
            <pc:docMk/>
            <pc:sldMk cId="2757431154" sldId="4195"/>
            <ac:grpSpMk id="60" creationId="{E2335C35-7D15-9B60-58A7-F709A20271F9}"/>
          </ac:grpSpMkLst>
        </pc:grpChg>
        <pc:grpChg chg="mod">
          <ac:chgData name="Ryterski Finn (HNE US-MI-PB-BO)" userId="efff052d-68b9-4e8d-b65b-45dff653056d" providerId="ADAL" clId="{4E77B3E1-3366-4E21-A4A0-00058AAC76A0}" dt="2025-04-15T08:29:20.135" v="976"/>
          <ac:grpSpMkLst>
            <pc:docMk/>
            <pc:sldMk cId="2757431154" sldId="4195"/>
            <ac:grpSpMk id="61" creationId="{2B56927E-7B2A-1C6D-145C-9086A3A14FC1}"/>
          </ac:grpSpMkLst>
        </pc:grpChg>
        <pc:grpChg chg="mod">
          <ac:chgData name="Ryterski Finn (HNE US-MI-PB-BO)" userId="efff052d-68b9-4e8d-b65b-45dff653056d" providerId="ADAL" clId="{4E77B3E1-3366-4E21-A4A0-00058AAC76A0}" dt="2025-04-15T08:29:20.135" v="976"/>
          <ac:grpSpMkLst>
            <pc:docMk/>
            <pc:sldMk cId="2757431154" sldId="4195"/>
            <ac:grpSpMk id="62" creationId="{99A1C572-6A21-EC26-E1ED-757772BB5208}"/>
          </ac:grpSpMkLst>
        </pc:grpChg>
        <pc:graphicFrameChg chg="add mod ord modVis">
          <ac:chgData name="Ryterski Finn (HNE US-MI-PB-BO)" userId="efff052d-68b9-4e8d-b65b-45dff653056d" providerId="ADAL" clId="{4E77B3E1-3366-4E21-A4A0-00058AAC76A0}" dt="2025-04-15T08:26:41.830" v="958" actId="14100"/>
          <ac:graphicFrameMkLst>
            <pc:docMk/>
            <pc:sldMk cId="2757431154" sldId="4195"/>
            <ac:graphicFrameMk id="50" creationId="{2B35DED5-47A2-3C92-7834-AF8F963FF47A}"/>
          </ac:graphicFrameMkLst>
        </pc:graphicFrameChg>
        <pc:graphicFrameChg chg="add mod ord modVis">
          <ac:chgData name="Ryterski Finn (HNE US-MI-PB-BO)" userId="efff052d-68b9-4e8d-b65b-45dff653056d" providerId="ADAL" clId="{4E77B3E1-3366-4E21-A4A0-00058AAC76A0}" dt="2025-04-15T08:31:21.882" v="1035" actId="14100"/>
          <ac:graphicFrameMkLst>
            <pc:docMk/>
            <pc:sldMk cId="2757431154" sldId="4195"/>
            <ac:graphicFrameMk id="118" creationId="{3DB5BB5C-0E5C-8DFE-0FF8-F50F36C7C862}"/>
          </ac:graphicFrameMkLst>
        </pc:graphicFrameChg>
        <pc:graphicFrameChg chg="add mod ord modVis">
          <ac:chgData name="Ryterski Finn (HNE US-MI-PB-BO)" userId="efff052d-68b9-4e8d-b65b-45dff653056d" providerId="ADAL" clId="{4E77B3E1-3366-4E21-A4A0-00058AAC76A0}" dt="2025-04-15T08:31:26.514" v="1057" actId="14100"/>
          <ac:graphicFrameMkLst>
            <pc:docMk/>
            <pc:sldMk cId="2757431154" sldId="4195"/>
            <ac:graphicFrameMk id="119" creationId="{E7BFE1F0-4139-0051-F65C-5C53265E90DB}"/>
          </ac:graphicFrameMkLst>
        </pc:graphicFrameChg>
        <pc:graphicFrameChg chg="add mod ord modVis">
          <ac:chgData name="Ryterski Finn (HNE US-MI-PB-BO)" userId="efff052d-68b9-4e8d-b65b-45dff653056d" providerId="ADAL" clId="{4E77B3E1-3366-4E21-A4A0-00058AAC76A0}" dt="2025-04-15T08:58:51.879" v="2564"/>
          <ac:graphicFrameMkLst>
            <pc:docMk/>
            <pc:sldMk cId="2757431154" sldId="4195"/>
            <ac:graphicFrameMk id="120" creationId="{B986AFD6-E363-046C-06F8-5DC083C3E1F2}"/>
          </ac:graphicFrameMkLst>
        </pc:graphicFrameChg>
        <pc:picChg chg="add mod">
          <ac:chgData name="Ryterski Finn (HNE US-MI-PB-BO)" userId="efff052d-68b9-4e8d-b65b-45dff653056d" providerId="ADAL" clId="{4E77B3E1-3366-4E21-A4A0-00058AAC76A0}" dt="2025-04-15T08:21:41.893" v="914" actId="1076"/>
          <ac:picMkLst>
            <pc:docMk/>
            <pc:sldMk cId="2757431154" sldId="4195"/>
            <ac:picMk id="13" creationId="{5E43A787-0B3C-30A9-4C11-5603D95C6CFE}"/>
          </ac:picMkLst>
        </pc:picChg>
        <pc:picChg chg="add mod">
          <ac:chgData name="Ryterski Finn (HNE US-MI-PB-BO)" userId="efff052d-68b9-4e8d-b65b-45dff653056d" providerId="ADAL" clId="{4E77B3E1-3366-4E21-A4A0-00058AAC76A0}" dt="2025-04-15T08:21:41.893" v="914" actId="1076"/>
          <ac:picMkLst>
            <pc:docMk/>
            <pc:sldMk cId="2757431154" sldId="4195"/>
            <ac:picMk id="15" creationId="{A80CF145-9793-4160-7FFE-71847DA4542C}"/>
          </ac:picMkLst>
        </pc:picChg>
        <pc:picChg chg="add mod">
          <ac:chgData name="Ryterski Finn (HNE US-MI-PB-BO)" userId="efff052d-68b9-4e8d-b65b-45dff653056d" providerId="ADAL" clId="{4E77B3E1-3366-4E21-A4A0-00058AAC76A0}" dt="2025-04-15T08:26:22.280" v="922"/>
          <ac:picMkLst>
            <pc:docMk/>
            <pc:sldMk cId="2757431154" sldId="4195"/>
            <ac:picMk id="29" creationId="{5CB8A946-59F9-66EC-20D2-A574B1BBECE1}"/>
          </ac:picMkLst>
        </pc:picChg>
        <pc:picChg chg="add mod">
          <ac:chgData name="Ryterski Finn (HNE US-MI-PB-BO)" userId="efff052d-68b9-4e8d-b65b-45dff653056d" providerId="ADAL" clId="{4E77B3E1-3366-4E21-A4A0-00058AAC76A0}" dt="2025-04-15T08:26:41.175" v="951" actId="1076"/>
          <ac:picMkLst>
            <pc:docMk/>
            <pc:sldMk cId="2757431154" sldId="4195"/>
            <ac:picMk id="44" creationId="{063BF395-6CC4-72F0-9AE3-CD357ABB9873}"/>
          </ac:picMkLst>
        </pc:picChg>
        <pc:picChg chg="add del mod">
          <ac:chgData name="Ryterski Finn (HNE US-MI-PB-BO)" userId="efff052d-68b9-4e8d-b65b-45dff653056d" providerId="ADAL" clId="{4E77B3E1-3366-4E21-A4A0-00058AAC76A0}" dt="2025-04-15T08:26:40.951" v="950" actId="478"/>
          <ac:picMkLst>
            <pc:docMk/>
            <pc:sldMk cId="2757431154" sldId="4195"/>
            <ac:picMk id="46" creationId="{B45E1B0D-AA84-A051-D2FE-1A77693DCCA9}"/>
          </ac:picMkLst>
        </pc:picChg>
        <pc:picChg chg="add mod ord">
          <ac:chgData name="Ryterski Finn (HNE US-MI-PB-BO)" userId="efff052d-68b9-4e8d-b65b-45dff653056d" providerId="ADAL" clId="{4E77B3E1-3366-4E21-A4A0-00058AAC76A0}" dt="2025-04-15T08:58:07.244" v="2442" actId="1076"/>
          <ac:picMkLst>
            <pc:docMk/>
            <pc:sldMk cId="2757431154" sldId="4195"/>
            <ac:picMk id="58" creationId="{8B06D255-5801-9CBE-2559-51A7D9C38675}"/>
          </ac:picMkLst>
        </pc:picChg>
        <pc:picChg chg="mod">
          <ac:chgData name="Ryterski Finn (HNE US-MI-PB-BO)" userId="efff052d-68b9-4e8d-b65b-45dff653056d" providerId="ADAL" clId="{4E77B3E1-3366-4E21-A4A0-00058AAC76A0}" dt="2025-04-15T08:29:20.135" v="976"/>
          <ac:picMkLst>
            <pc:docMk/>
            <pc:sldMk cId="2757431154" sldId="4195"/>
            <ac:picMk id="74" creationId="{67973C45-9D4D-35D3-EF5D-149003993981}"/>
          </ac:picMkLst>
        </pc:picChg>
        <pc:picChg chg="add del mod">
          <ac:chgData name="Ryterski Finn (HNE US-MI-PB-BO)" userId="efff052d-68b9-4e8d-b65b-45dff653056d" providerId="ADAL" clId="{4E77B3E1-3366-4E21-A4A0-00058AAC76A0}" dt="2025-04-15T08:31:46.939" v="1089" actId="478"/>
          <ac:picMkLst>
            <pc:docMk/>
            <pc:sldMk cId="2757431154" sldId="4195"/>
            <ac:picMk id="92" creationId="{9191CA6D-DB2F-EDB9-3AD5-F1045222EFA1}"/>
          </ac:picMkLst>
        </pc:picChg>
        <pc:picChg chg="add mod">
          <ac:chgData name="Ryterski Finn (HNE US-MI-PB-BO)" userId="efff052d-68b9-4e8d-b65b-45dff653056d" providerId="ADAL" clId="{4E77B3E1-3366-4E21-A4A0-00058AAC76A0}" dt="2025-04-15T08:58:07.244" v="2442" actId="1076"/>
          <ac:picMkLst>
            <pc:docMk/>
            <pc:sldMk cId="2757431154" sldId="4195"/>
            <ac:picMk id="135" creationId="{EA9D7C13-3442-93F6-17DB-BA40C5665942}"/>
          </ac:picMkLst>
        </pc:picChg>
        <pc:picChg chg="add mod">
          <ac:chgData name="Ryterski Finn (HNE US-MI-PB-BO)" userId="efff052d-68b9-4e8d-b65b-45dff653056d" providerId="ADAL" clId="{4E77B3E1-3366-4E21-A4A0-00058AAC76A0}" dt="2025-04-15T08:58:07.244" v="2442" actId="1076"/>
          <ac:picMkLst>
            <pc:docMk/>
            <pc:sldMk cId="2757431154" sldId="4195"/>
            <ac:picMk id="139" creationId="{B1C762E1-154A-AAB4-1621-9386E919DE01}"/>
          </ac:picMkLst>
        </pc:picChg>
      </pc:sldChg>
      <pc:sldChg chg="new del">
        <pc:chgData name="Ryterski Finn (HNE US-MI-PB-BO)" userId="efff052d-68b9-4e8d-b65b-45dff653056d" providerId="ADAL" clId="{4E77B3E1-3366-4E21-A4A0-00058AAC76A0}" dt="2025-04-15T08:57:52.192" v="2415" actId="47"/>
        <pc:sldMkLst>
          <pc:docMk/>
          <pc:sldMk cId="3915468462" sldId="4196"/>
        </pc:sldMkLst>
      </pc:sldChg>
      <pc:sldChg chg="addSp delSp modSp new mod modClrScheme chgLayout">
        <pc:chgData name="Ryterski Finn (HNE US-MI-PB-BO)" userId="efff052d-68b9-4e8d-b65b-45dff653056d" providerId="ADAL" clId="{4E77B3E1-3366-4E21-A4A0-00058AAC76A0}" dt="2025-04-15T14:41:32.756" v="6941"/>
        <pc:sldMkLst>
          <pc:docMk/>
          <pc:sldMk cId="59272881" sldId="4197"/>
        </pc:sldMkLst>
        <pc:spChg chg="del mod ord">
          <ac:chgData name="Ryterski Finn (HNE US-MI-PB-BO)" userId="efff052d-68b9-4e8d-b65b-45dff653056d" providerId="ADAL" clId="{4E77B3E1-3366-4E21-A4A0-00058AAC76A0}" dt="2025-04-15T08:55:39.380" v="2220" actId="700"/>
          <ac:spMkLst>
            <pc:docMk/>
            <pc:sldMk cId="59272881" sldId="4197"/>
            <ac:spMk id="2" creationId="{2DEBAE9F-A821-3D89-031D-36BC11562CEE}"/>
          </ac:spMkLst>
        </pc:spChg>
        <pc:spChg chg="add mod">
          <ac:chgData name="Ryterski Finn (HNE US-MI-PB-BO)" userId="efff052d-68b9-4e8d-b65b-45dff653056d" providerId="ADAL" clId="{4E77B3E1-3366-4E21-A4A0-00058AAC76A0}" dt="2025-04-15T14:41:32.756" v="6941"/>
          <ac:spMkLst>
            <pc:docMk/>
            <pc:sldMk cId="59272881" sldId="4197"/>
            <ac:spMk id="2" creationId="{8E3E8FB9-026E-3F48-A1B3-FE104F51C71C}"/>
          </ac:spMkLst>
        </pc:spChg>
        <pc:spChg chg="del mod ord">
          <ac:chgData name="Ryterski Finn (HNE US-MI-PB-BO)" userId="efff052d-68b9-4e8d-b65b-45dff653056d" providerId="ADAL" clId="{4E77B3E1-3366-4E21-A4A0-00058AAC76A0}" dt="2025-04-15T08:55:39.380" v="2220" actId="700"/>
          <ac:spMkLst>
            <pc:docMk/>
            <pc:sldMk cId="59272881" sldId="4197"/>
            <ac:spMk id="3" creationId="{AB9512E7-6124-F618-60D6-0291FA1FCEE9}"/>
          </ac:spMkLst>
        </pc:spChg>
        <pc:spChg chg="del mod ord">
          <ac:chgData name="Ryterski Finn (HNE US-MI-PB-BO)" userId="efff052d-68b9-4e8d-b65b-45dff653056d" providerId="ADAL" clId="{4E77B3E1-3366-4E21-A4A0-00058AAC76A0}" dt="2025-04-15T08:56:42.071" v="2291" actId="478"/>
          <ac:spMkLst>
            <pc:docMk/>
            <pc:sldMk cId="59272881" sldId="4197"/>
            <ac:spMk id="4" creationId="{1D3B9346-7BBE-A8D8-5323-D3234A2DB9A1}"/>
          </ac:spMkLst>
        </pc:spChg>
        <pc:spChg chg="mod ord">
          <ac:chgData name="Ryterski Finn (HNE US-MI-PB-BO)" userId="efff052d-68b9-4e8d-b65b-45dff653056d" providerId="ADAL" clId="{4E77B3E1-3366-4E21-A4A0-00058AAC76A0}" dt="2025-04-15T08:55:39.380" v="2220" actId="700"/>
          <ac:spMkLst>
            <pc:docMk/>
            <pc:sldMk cId="59272881" sldId="4197"/>
            <ac:spMk id="5" creationId="{F89CCACE-8178-F41A-68AF-2A54BC11DB54}"/>
          </ac:spMkLst>
        </pc:spChg>
        <pc:spChg chg="add mod ord">
          <ac:chgData name="Ryterski Finn (HNE US-MI-PB-BO)" userId="efff052d-68b9-4e8d-b65b-45dff653056d" providerId="ADAL" clId="{4E77B3E1-3366-4E21-A4A0-00058AAC76A0}" dt="2025-04-15T08:59:17.811" v="2615" actId="948"/>
          <ac:spMkLst>
            <pc:docMk/>
            <pc:sldMk cId="59272881" sldId="4197"/>
            <ac:spMk id="6" creationId="{6DCE048D-9C0B-563A-BD0B-EE85F16E371C}"/>
          </ac:spMkLst>
        </pc:spChg>
        <pc:spChg chg="add del mod ord">
          <ac:chgData name="Ryterski Finn (HNE US-MI-PB-BO)" userId="efff052d-68b9-4e8d-b65b-45dff653056d" providerId="ADAL" clId="{4E77B3E1-3366-4E21-A4A0-00058AAC76A0}" dt="2025-04-15T08:56:23.142" v="2259" actId="478"/>
          <ac:spMkLst>
            <pc:docMk/>
            <pc:sldMk cId="59272881" sldId="4197"/>
            <ac:spMk id="7" creationId="{6B9D68E5-AD70-1010-0808-F50DB343D3D5}"/>
          </ac:spMkLst>
        </pc:spChg>
        <pc:spChg chg="add del mod">
          <ac:chgData name="Ryterski Finn (HNE US-MI-PB-BO)" userId="efff052d-68b9-4e8d-b65b-45dff653056d" providerId="ADAL" clId="{4E77B3E1-3366-4E21-A4A0-00058AAC76A0}" dt="2025-04-15T08:56:33.479" v="2263" actId="478"/>
          <ac:spMkLst>
            <pc:docMk/>
            <pc:sldMk cId="59272881" sldId="4197"/>
            <ac:spMk id="9" creationId="{28068CA0-85E2-FDBE-44EC-12EA940B1BB2}"/>
          </ac:spMkLst>
        </pc:spChg>
        <pc:spChg chg="add del mod">
          <ac:chgData name="Ryterski Finn (HNE US-MI-PB-BO)" userId="efff052d-68b9-4e8d-b65b-45dff653056d" providerId="ADAL" clId="{4E77B3E1-3366-4E21-A4A0-00058AAC76A0}" dt="2025-04-15T09:01:31.099" v="2658" actId="108"/>
          <ac:spMkLst>
            <pc:docMk/>
            <pc:sldMk cId="59272881" sldId="4197"/>
            <ac:spMk id="10" creationId="{FA1599A7-6BF3-C9EF-14E3-C905D9BDF56B}"/>
          </ac:spMkLst>
        </pc:spChg>
        <pc:spChg chg="add mod">
          <ac:chgData name="Ryterski Finn (HNE US-MI-PB-BO)" userId="efff052d-68b9-4e8d-b65b-45dff653056d" providerId="ADAL" clId="{4E77B3E1-3366-4E21-A4A0-00058AAC76A0}" dt="2025-04-15T08:55:47.770" v="2235"/>
          <ac:spMkLst>
            <pc:docMk/>
            <pc:sldMk cId="59272881" sldId="4197"/>
            <ac:spMk id="11" creationId="{8D2A02C7-6D38-454D-084C-DBD6E1D99946}"/>
          </ac:spMkLst>
        </pc:spChg>
        <pc:spChg chg="add del mod">
          <ac:chgData name="Ryterski Finn (HNE US-MI-PB-BO)" userId="efff052d-68b9-4e8d-b65b-45dff653056d" providerId="ADAL" clId="{4E77B3E1-3366-4E21-A4A0-00058AAC76A0}" dt="2025-04-15T08:56:17.686" v="2256" actId="478"/>
          <ac:spMkLst>
            <pc:docMk/>
            <pc:sldMk cId="59272881" sldId="4197"/>
            <ac:spMk id="12" creationId="{CC251FA8-8FD9-C3B5-DD5A-971A949A0EEF}"/>
          </ac:spMkLst>
        </pc:spChg>
        <pc:spChg chg="add mod">
          <ac:chgData name="Ryterski Finn (HNE US-MI-PB-BO)" userId="efff052d-68b9-4e8d-b65b-45dff653056d" providerId="ADAL" clId="{4E77B3E1-3366-4E21-A4A0-00058AAC76A0}" dt="2025-04-15T12:47:40.617" v="4967" actId="1076"/>
          <ac:spMkLst>
            <pc:docMk/>
            <pc:sldMk cId="59272881" sldId="4197"/>
            <ac:spMk id="13" creationId="{67E643E3-D829-F1FA-C8BA-8EC90921A886}"/>
          </ac:spMkLst>
        </pc:spChg>
        <pc:spChg chg="add mod">
          <ac:chgData name="Ryterski Finn (HNE US-MI-PB-BO)" userId="efff052d-68b9-4e8d-b65b-45dff653056d" providerId="ADAL" clId="{4E77B3E1-3366-4E21-A4A0-00058AAC76A0}" dt="2025-04-15T08:55:47.770" v="2235"/>
          <ac:spMkLst>
            <pc:docMk/>
            <pc:sldMk cId="59272881" sldId="4197"/>
            <ac:spMk id="14" creationId="{931240C1-DA4A-4361-F5D4-82C9780B4C7B}"/>
          </ac:spMkLst>
        </pc:spChg>
        <pc:spChg chg="add mod">
          <ac:chgData name="Ryterski Finn (HNE US-MI-PB-BO)" userId="efff052d-68b9-4e8d-b65b-45dff653056d" providerId="ADAL" clId="{4E77B3E1-3366-4E21-A4A0-00058AAC76A0}" dt="2025-04-15T08:55:47.770" v="2235"/>
          <ac:spMkLst>
            <pc:docMk/>
            <pc:sldMk cId="59272881" sldId="4197"/>
            <ac:spMk id="15" creationId="{1BDEE6FB-E78D-9B06-7736-CB15CDAB2894}"/>
          </ac:spMkLst>
        </pc:spChg>
        <pc:spChg chg="add mod">
          <ac:chgData name="Ryterski Finn (HNE US-MI-PB-BO)" userId="efff052d-68b9-4e8d-b65b-45dff653056d" providerId="ADAL" clId="{4E77B3E1-3366-4E21-A4A0-00058AAC76A0}" dt="2025-04-15T08:55:47.770" v="2235"/>
          <ac:spMkLst>
            <pc:docMk/>
            <pc:sldMk cId="59272881" sldId="4197"/>
            <ac:spMk id="16" creationId="{D4200D75-1306-30E3-D7DF-07F915115793}"/>
          </ac:spMkLst>
        </pc:spChg>
        <pc:spChg chg="add mod">
          <ac:chgData name="Ryterski Finn (HNE US-MI-PB-BO)" userId="efff052d-68b9-4e8d-b65b-45dff653056d" providerId="ADAL" clId="{4E77B3E1-3366-4E21-A4A0-00058AAC76A0}" dt="2025-04-15T08:55:47.770" v="2235"/>
          <ac:spMkLst>
            <pc:docMk/>
            <pc:sldMk cId="59272881" sldId="4197"/>
            <ac:spMk id="17" creationId="{49A2E64F-D365-B1E3-3663-8D43BB498390}"/>
          </ac:spMkLst>
        </pc:spChg>
        <pc:spChg chg="add mod">
          <ac:chgData name="Ryterski Finn (HNE US-MI-PB-BO)" userId="efff052d-68b9-4e8d-b65b-45dff653056d" providerId="ADAL" clId="{4E77B3E1-3366-4E21-A4A0-00058AAC76A0}" dt="2025-04-15T08:55:47.770" v="2235"/>
          <ac:spMkLst>
            <pc:docMk/>
            <pc:sldMk cId="59272881" sldId="4197"/>
            <ac:spMk id="18" creationId="{2104DC9D-A0DE-869A-B1AE-7EE74D20EB82}"/>
          </ac:spMkLst>
        </pc:spChg>
        <pc:spChg chg="mod">
          <ac:chgData name="Ryterski Finn (HNE US-MI-PB-BO)" userId="efff052d-68b9-4e8d-b65b-45dff653056d" providerId="ADAL" clId="{4E77B3E1-3366-4E21-A4A0-00058AAC76A0}" dt="2025-04-15T08:55:47.770" v="2235"/>
          <ac:spMkLst>
            <pc:docMk/>
            <pc:sldMk cId="59272881" sldId="4197"/>
            <ac:spMk id="20" creationId="{9E51BC79-0B41-5F10-AD05-EA68984DB078}"/>
          </ac:spMkLst>
        </pc:spChg>
        <pc:spChg chg="mod">
          <ac:chgData name="Ryterski Finn (HNE US-MI-PB-BO)" userId="efff052d-68b9-4e8d-b65b-45dff653056d" providerId="ADAL" clId="{4E77B3E1-3366-4E21-A4A0-00058AAC76A0}" dt="2025-04-15T08:55:47.770" v="2235"/>
          <ac:spMkLst>
            <pc:docMk/>
            <pc:sldMk cId="59272881" sldId="4197"/>
            <ac:spMk id="21" creationId="{32DF6323-659A-C741-C44F-CC0A84E9663F}"/>
          </ac:spMkLst>
        </pc:spChg>
        <pc:spChg chg="mod">
          <ac:chgData name="Ryterski Finn (HNE US-MI-PB-BO)" userId="efff052d-68b9-4e8d-b65b-45dff653056d" providerId="ADAL" clId="{4E77B3E1-3366-4E21-A4A0-00058AAC76A0}" dt="2025-04-15T08:55:47.770" v="2235"/>
          <ac:spMkLst>
            <pc:docMk/>
            <pc:sldMk cId="59272881" sldId="4197"/>
            <ac:spMk id="22" creationId="{C650C12F-3819-1E1E-5BC2-7B85BBE9565C}"/>
          </ac:spMkLst>
        </pc:spChg>
        <pc:spChg chg="add del mod">
          <ac:chgData name="Ryterski Finn (HNE US-MI-PB-BO)" userId="efff052d-68b9-4e8d-b65b-45dff653056d" providerId="ADAL" clId="{4E77B3E1-3366-4E21-A4A0-00058AAC76A0}" dt="2025-04-15T12:47:55.368" v="4971" actId="14100"/>
          <ac:spMkLst>
            <pc:docMk/>
            <pc:sldMk cId="59272881" sldId="4197"/>
            <ac:spMk id="23" creationId="{D1338B18-81A2-FF57-801D-FA5A76678A00}"/>
          </ac:spMkLst>
        </pc:spChg>
        <pc:spChg chg="add mod">
          <ac:chgData name="Ryterski Finn (HNE US-MI-PB-BO)" userId="efff052d-68b9-4e8d-b65b-45dff653056d" providerId="ADAL" clId="{4E77B3E1-3366-4E21-A4A0-00058AAC76A0}" dt="2025-04-15T08:55:47.770" v="2235"/>
          <ac:spMkLst>
            <pc:docMk/>
            <pc:sldMk cId="59272881" sldId="4197"/>
            <ac:spMk id="24" creationId="{3E5B6FB0-6C8E-5752-96F1-3B5AA9ED80B5}"/>
          </ac:spMkLst>
        </pc:spChg>
        <pc:spChg chg="add mod">
          <ac:chgData name="Ryterski Finn (HNE US-MI-PB-BO)" userId="efff052d-68b9-4e8d-b65b-45dff653056d" providerId="ADAL" clId="{4E77B3E1-3366-4E21-A4A0-00058AAC76A0}" dt="2025-04-15T08:55:47.770" v="2235"/>
          <ac:spMkLst>
            <pc:docMk/>
            <pc:sldMk cId="59272881" sldId="4197"/>
            <ac:spMk id="25" creationId="{7A08AF6E-387F-1E80-8A54-DED3A7406155}"/>
          </ac:spMkLst>
        </pc:spChg>
        <pc:spChg chg="add mod">
          <ac:chgData name="Ryterski Finn (HNE US-MI-PB-BO)" userId="efff052d-68b9-4e8d-b65b-45dff653056d" providerId="ADAL" clId="{4E77B3E1-3366-4E21-A4A0-00058AAC76A0}" dt="2025-04-15T08:55:47.770" v="2235"/>
          <ac:spMkLst>
            <pc:docMk/>
            <pc:sldMk cId="59272881" sldId="4197"/>
            <ac:spMk id="33" creationId="{936D8F67-DD2A-4334-4473-C12E70B04A32}"/>
          </ac:spMkLst>
        </pc:spChg>
        <pc:spChg chg="add mod">
          <ac:chgData name="Ryterski Finn (HNE US-MI-PB-BO)" userId="efff052d-68b9-4e8d-b65b-45dff653056d" providerId="ADAL" clId="{4E77B3E1-3366-4E21-A4A0-00058AAC76A0}" dt="2025-04-15T08:55:47.770" v="2235"/>
          <ac:spMkLst>
            <pc:docMk/>
            <pc:sldMk cId="59272881" sldId="4197"/>
            <ac:spMk id="34" creationId="{37B5E492-735F-10F0-A2B5-F3ED472F9802}"/>
          </ac:spMkLst>
        </pc:spChg>
        <pc:spChg chg="add mod">
          <ac:chgData name="Ryterski Finn (HNE US-MI-PB-BO)" userId="efff052d-68b9-4e8d-b65b-45dff653056d" providerId="ADAL" clId="{4E77B3E1-3366-4E21-A4A0-00058AAC76A0}" dt="2025-04-15T14:39:18.882" v="6878" actId="1076"/>
          <ac:spMkLst>
            <pc:docMk/>
            <pc:sldMk cId="59272881" sldId="4197"/>
            <ac:spMk id="35" creationId="{F5C56528-C61E-25E0-6DAC-B2DA06450288}"/>
          </ac:spMkLst>
        </pc:spChg>
        <pc:spChg chg="add mod">
          <ac:chgData name="Ryterski Finn (HNE US-MI-PB-BO)" userId="efff052d-68b9-4e8d-b65b-45dff653056d" providerId="ADAL" clId="{4E77B3E1-3366-4E21-A4A0-00058AAC76A0}" dt="2025-04-15T08:55:47.770" v="2235"/>
          <ac:spMkLst>
            <pc:docMk/>
            <pc:sldMk cId="59272881" sldId="4197"/>
            <ac:spMk id="36" creationId="{4F242683-0F16-57B7-FB61-0F8497879A1E}"/>
          </ac:spMkLst>
        </pc:spChg>
        <pc:spChg chg="add mod">
          <ac:chgData name="Ryterski Finn (HNE US-MI-PB-BO)" userId="efff052d-68b9-4e8d-b65b-45dff653056d" providerId="ADAL" clId="{4E77B3E1-3366-4E21-A4A0-00058AAC76A0}" dt="2025-04-15T08:55:47.770" v="2235"/>
          <ac:spMkLst>
            <pc:docMk/>
            <pc:sldMk cId="59272881" sldId="4197"/>
            <ac:spMk id="37" creationId="{6FB7D9D8-FE71-AEF7-5ACD-49F79A0E8526}"/>
          </ac:spMkLst>
        </pc:spChg>
        <pc:spChg chg="add mod">
          <ac:chgData name="Ryterski Finn (HNE US-MI-PB-BO)" userId="efff052d-68b9-4e8d-b65b-45dff653056d" providerId="ADAL" clId="{4E77B3E1-3366-4E21-A4A0-00058AAC76A0}" dt="2025-04-15T08:55:54.889" v="2236"/>
          <ac:spMkLst>
            <pc:docMk/>
            <pc:sldMk cId="59272881" sldId="4197"/>
            <ac:spMk id="38" creationId="{C8666433-6145-731B-D86E-5B614BEDB674}"/>
          </ac:spMkLst>
        </pc:spChg>
        <pc:spChg chg="add del mod modVis">
          <ac:chgData name="Ryterski Finn (HNE US-MI-PB-BO)" userId="efff052d-68b9-4e8d-b65b-45dff653056d" providerId="ADAL" clId="{4E77B3E1-3366-4E21-A4A0-00058AAC76A0}" dt="2025-04-15T08:56:36.409" v="2288"/>
          <ac:spMkLst>
            <pc:docMk/>
            <pc:sldMk cId="59272881" sldId="4197"/>
            <ac:spMk id="39" creationId="{FC686B46-7BC2-0183-B40D-34AED7C27F05}"/>
          </ac:spMkLst>
        </pc:spChg>
        <pc:spChg chg="add del mod modVis">
          <ac:chgData name="Ryterski Finn (HNE US-MI-PB-BO)" userId="efff052d-68b9-4e8d-b65b-45dff653056d" providerId="ADAL" clId="{4E77B3E1-3366-4E21-A4A0-00058AAC76A0}" dt="2025-04-15T08:56:54.315" v="2320"/>
          <ac:spMkLst>
            <pc:docMk/>
            <pc:sldMk cId="59272881" sldId="4197"/>
            <ac:spMk id="40" creationId="{06B0E5C9-1034-8EF1-6ADB-6210BFB347C8}"/>
          </ac:spMkLst>
        </pc:spChg>
        <pc:spChg chg="add del mod modVis">
          <ac:chgData name="Ryterski Finn (HNE US-MI-PB-BO)" userId="efff052d-68b9-4e8d-b65b-45dff653056d" providerId="ADAL" clId="{4E77B3E1-3366-4E21-A4A0-00058AAC76A0}" dt="2025-04-15T08:56:55.450" v="2351"/>
          <ac:spMkLst>
            <pc:docMk/>
            <pc:sldMk cId="59272881" sldId="4197"/>
            <ac:spMk id="41" creationId="{B2CA3C44-BA57-FB88-2F42-39D67F694E3D}"/>
          </ac:spMkLst>
        </pc:spChg>
        <pc:spChg chg="add del mod modVis">
          <ac:chgData name="Ryterski Finn (HNE US-MI-PB-BO)" userId="efff052d-68b9-4e8d-b65b-45dff653056d" providerId="ADAL" clId="{4E77B3E1-3366-4E21-A4A0-00058AAC76A0}" dt="2025-04-15T08:57:45.938" v="2412"/>
          <ac:spMkLst>
            <pc:docMk/>
            <pc:sldMk cId="59272881" sldId="4197"/>
            <ac:spMk id="42" creationId="{EF4F9FD9-B823-8DB6-BBA9-57B6E924A70D}"/>
          </ac:spMkLst>
        </pc:spChg>
        <pc:spChg chg="add del mod modVis">
          <ac:chgData name="Ryterski Finn (HNE US-MI-PB-BO)" userId="efff052d-68b9-4e8d-b65b-45dff653056d" providerId="ADAL" clId="{4E77B3E1-3366-4E21-A4A0-00058AAC76A0}" dt="2025-04-15T08:58:29.870" v="2520"/>
          <ac:spMkLst>
            <pc:docMk/>
            <pc:sldMk cId="59272881" sldId="4197"/>
            <ac:spMk id="43" creationId="{7EF70021-648E-3335-DAD6-A446587AB39D}"/>
          </ac:spMkLst>
        </pc:spChg>
        <pc:spChg chg="add del mod modVis">
          <ac:chgData name="Ryterski Finn (HNE US-MI-PB-BO)" userId="efff052d-68b9-4e8d-b65b-45dff653056d" providerId="ADAL" clId="{4E77B3E1-3366-4E21-A4A0-00058AAC76A0}" dt="2025-04-15T08:59:14.931" v="2611"/>
          <ac:spMkLst>
            <pc:docMk/>
            <pc:sldMk cId="59272881" sldId="4197"/>
            <ac:spMk id="44" creationId="{590E824B-02FB-70AB-491E-2AC67035D74B}"/>
          </ac:spMkLst>
        </pc:spChg>
        <pc:spChg chg="add del mod modVis">
          <ac:chgData name="Ryterski Finn (HNE US-MI-PB-BO)" userId="efff052d-68b9-4e8d-b65b-45dff653056d" providerId="ADAL" clId="{4E77B3E1-3366-4E21-A4A0-00058AAC76A0}" dt="2025-04-15T08:59:17.858" v="2639"/>
          <ac:spMkLst>
            <pc:docMk/>
            <pc:sldMk cId="59272881" sldId="4197"/>
            <ac:spMk id="45" creationId="{F1133ABB-5041-AFAF-3D7A-46AD08C126A7}"/>
          </ac:spMkLst>
        </pc:spChg>
        <pc:grpChg chg="add mod">
          <ac:chgData name="Ryterski Finn (HNE US-MI-PB-BO)" userId="efff052d-68b9-4e8d-b65b-45dff653056d" providerId="ADAL" clId="{4E77B3E1-3366-4E21-A4A0-00058AAC76A0}" dt="2025-04-15T08:55:47.770" v="2235"/>
          <ac:grpSpMkLst>
            <pc:docMk/>
            <pc:sldMk cId="59272881" sldId="4197"/>
            <ac:grpSpMk id="19" creationId="{5A32AE53-3E6E-67F4-DA16-7966703EA654}"/>
          </ac:grpSpMkLst>
        </pc:grpChg>
        <pc:graphicFrameChg chg="add mod ord modVis">
          <ac:chgData name="Ryterski Finn (HNE US-MI-PB-BO)" userId="efff052d-68b9-4e8d-b65b-45dff653056d" providerId="ADAL" clId="{4E77B3E1-3366-4E21-A4A0-00058AAC76A0}" dt="2025-04-15T08:59:17.860" v="2641"/>
          <ac:graphicFrameMkLst>
            <pc:docMk/>
            <pc:sldMk cId="59272881" sldId="4197"/>
            <ac:graphicFrameMk id="8" creationId="{120041AF-139C-781E-E843-CF55576E486D}"/>
          </ac:graphicFrameMkLst>
        </pc:graphicFrameChg>
        <pc:picChg chg="add mod">
          <ac:chgData name="Ryterski Finn (HNE US-MI-PB-BO)" userId="efff052d-68b9-4e8d-b65b-45dff653056d" providerId="ADAL" clId="{4E77B3E1-3366-4E21-A4A0-00058AAC76A0}" dt="2025-04-15T08:55:47.770" v="2235"/>
          <ac:picMkLst>
            <pc:docMk/>
            <pc:sldMk cId="59272881" sldId="4197"/>
            <ac:picMk id="26" creationId="{086923DB-F726-C808-4DD0-001720F5F566}"/>
          </ac:picMkLst>
        </pc:picChg>
        <pc:picChg chg="add mod">
          <ac:chgData name="Ryterski Finn (HNE US-MI-PB-BO)" userId="efff052d-68b9-4e8d-b65b-45dff653056d" providerId="ADAL" clId="{4E77B3E1-3366-4E21-A4A0-00058AAC76A0}" dt="2025-04-15T08:55:47.770" v="2235"/>
          <ac:picMkLst>
            <pc:docMk/>
            <pc:sldMk cId="59272881" sldId="4197"/>
            <ac:picMk id="27" creationId="{2E6E8B24-94EC-3E39-7393-6CF6EE5F548C}"/>
          </ac:picMkLst>
        </pc:picChg>
        <pc:picChg chg="add mod">
          <ac:chgData name="Ryterski Finn (HNE US-MI-PB-BO)" userId="efff052d-68b9-4e8d-b65b-45dff653056d" providerId="ADAL" clId="{4E77B3E1-3366-4E21-A4A0-00058AAC76A0}" dt="2025-04-15T08:55:47.770" v="2235"/>
          <ac:picMkLst>
            <pc:docMk/>
            <pc:sldMk cId="59272881" sldId="4197"/>
            <ac:picMk id="28" creationId="{14F756F6-D4F5-F846-CCC5-D42AD10A3BC5}"/>
          </ac:picMkLst>
        </pc:picChg>
        <pc:picChg chg="add mod">
          <ac:chgData name="Ryterski Finn (HNE US-MI-PB-BO)" userId="efff052d-68b9-4e8d-b65b-45dff653056d" providerId="ADAL" clId="{4E77B3E1-3366-4E21-A4A0-00058AAC76A0}" dt="2025-04-15T08:55:47.770" v="2235"/>
          <ac:picMkLst>
            <pc:docMk/>
            <pc:sldMk cId="59272881" sldId="4197"/>
            <ac:picMk id="29" creationId="{E5F00513-A365-B8AB-A8D0-2453F8A5C785}"/>
          </ac:picMkLst>
        </pc:picChg>
        <pc:picChg chg="add mod">
          <ac:chgData name="Ryterski Finn (HNE US-MI-PB-BO)" userId="efff052d-68b9-4e8d-b65b-45dff653056d" providerId="ADAL" clId="{4E77B3E1-3366-4E21-A4A0-00058AAC76A0}" dt="2025-04-15T08:55:47.770" v="2235"/>
          <ac:picMkLst>
            <pc:docMk/>
            <pc:sldMk cId="59272881" sldId="4197"/>
            <ac:picMk id="30" creationId="{FFE085C4-AB88-03A9-2B56-784F3015B818}"/>
          </ac:picMkLst>
        </pc:picChg>
        <pc:picChg chg="add mod">
          <ac:chgData name="Ryterski Finn (HNE US-MI-PB-BO)" userId="efff052d-68b9-4e8d-b65b-45dff653056d" providerId="ADAL" clId="{4E77B3E1-3366-4E21-A4A0-00058AAC76A0}" dt="2025-04-15T08:55:47.770" v="2235"/>
          <ac:picMkLst>
            <pc:docMk/>
            <pc:sldMk cId="59272881" sldId="4197"/>
            <ac:picMk id="31" creationId="{D5C30728-8661-4B62-8E9B-6281D47DCE4B}"/>
          </ac:picMkLst>
        </pc:picChg>
        <pc:picChg chg="add mod">
          <ac:chgData name="Ryterski Finn (HNE US-MI-PB-BO)" userId="efff052d-68b9-4e8d-b65b-45dff653056d" providerId="ADAL" clId="{4E77B3E1-3366-4E21-A4A0-00058AAC76A0}" dt="2025-04-15T08:55:47.770" v="2235"/>
          <ac:picMkLst>
            <pc:docMk/>
            <pc:sldMk cId="59272881" sldId="4197"/>
            <ac:picMk id="32" creationId="{FA54FF8B-6797-223E-0C45-0E9A74EF1C1E}"/>
          </ac:picMkLst>
        </pc:picChg>
      </pc:sldChg>
      <pc:sldChg chg="addSp delSp modSp new mod">
        <pc:chgData name="Ryterski Finn (HNE US-MI-PB-BO)" userId="efff052d-68b9-4e8d-b65b-45dff653056d" providerId="ADAL" clId="{4E77B3E1-3366-4E21-A4A0-00058AAC76A0}" dt="2025-04-15T14:58:54.393" v="7020" actId="1076"/>
        <pc:sldMkLst>
          <pc:docMk/>
          <pc:sldMk cId="4100352293" sldId="4198"/>
        </pc:sldMkLst>
        <pc:spChg chg="mod">
          <ac:chgData name="Ryterski Finn (HNE US-MI-PB-BO)" userId="efff052d-68b9-4e8d-b65b-45dff653056d" providerId="ADAL" clId="{4E77B3E1-3366-4E21-A4A0-00058AAC76A0}" dt="2025-04-15T12:39:14.082" v="4786" actId="948"/>
          <ac:spMkLst>
            <pc:docMk/>
            <pc:sldMk cId="4100352293" sldId="4198"/>
            <ac:spMk id="2" creationId="{905A71B1-5235-15FC-E66C-A5B29E573E10}"/>
          </ac:spMkLst>
        </pc:spChg>
        <pc:spChg chg="add mod">
          <ac:chgData name="Ryterski Finn (HNE US-MI-PB-BO)" userId="efff052d-68b9-4e8d-b65b-45dff653056d" providerId="ADAL" clId="{4E77B3E1-3366-4E21-A4A0-00058AAC76A0}" dt="2025-04-15T14:58:54.393" v="7020" actId="1076"/>
          <ac:spMkLst>
            <pc:docMk/>
            <pc:sldMk cId="4100352293" sldId="4198"/>
            <ac:spMk id="3" creationId="{1F0E7304-AD16-127B-09F9-AE9E52573EBB}"/>
          </ac:spMkLst>
        </pc:spChg>
        <pc:spChg chg="del">
          <ac:chgData name="Ryterski Finn (HNE US-MI-PB-BO)" userId="efff052d-68b9-4e8d-b65b-45dff653056d" providerId="ADAL" clId="{4E77B3E1-3366-4E21-A4A0-00058AAC76A0}" dt="2025-04-15T12:40:27.878" v="4833" actId="478"/>
          <ac:spMkLst>
            <pc:docMk/>
            <pc:sldMk cId="4100352293" sldId="4198"/>
            <ac:spMk id="3" creationId="{FE6FE351-CA9A-88F9-1A6E-8FC318F2F8C9}"/>
          </ac:spMkLst>
        </pc:spChg>
        <pc:spChg chg="del">
          <ac:chgData name="Ryterski Finn (HNE US-MI-PB-BO)" userId="efff052d-68b9-4e8d-b65b-45dff653056d" providerId="ADAL" clId="{4E77B3E1-3366-4E21-A4A0-00058AAC76A0}" dt="2025-04-15T13:03:41.708" v="5366" actId="478"/>
          <ac:spMkLst>
            <pc:docMk/>
            <pc:sldMk cId="4100352293" sldId="4198"/>
            <ac:spMk id="4" creationId="{C5A83561-BDFC-D0ED-9B48-5146A292E26A}"/>
          </ac:spMkLst>
        </pc:spChg>
        <pc:spChg chg="add mod">
          <ac:chgData name="Ryterski Finn (HNE US-MI-PB-BO)" userId="efff052d-68b9-4e8d-b65b-45dff653056d" providerId="ADAL" clId="{4E77B3E1-3366-4E21-A4A0-00058AAC76A0}" dt="2025-04-15T14:58:54.393" v="7020" actId="1076"/>
          <ac:spMkLst>
            <pc:docMk/>
            <pc:sldMk cId="4100352293" sldId="4198"/>
            <ac:spMk id="4" creationId="{DC39E961-9A9C-A6B5-65FA-9B98A8A13C44}"/>
          </ac:spMkLst>
        </pc:spChg>
        <pc:spChg chg="del mod">
          <ac:chgData name="Ryterski Finn (HNE US-MI-PB-BO)" userId="efff052d-68b9-4e8d-b65b-45dff653056d" providerId="ADAL" clId="{4E77B3E1-3366-4E21-A4A0-00058AAC76A0}" dt="2025-04-15T12:39:23.731" v="4827" actId="478"/>
          <ac:spMkLst>
            <pc:docMk/>
            <pc:sldMk cId="4100352293" sldId="4198"/>
            <ac:spMk id="5" creationId="{7B35BADA-10F2-E948-E39A-D6DA24F15664}"/>
          </ac:spMkLst>
        </pc:spChg>
        <pc:spChg chg="add mod">
          <ac:chgData name="Ryterski Finn (HNE US-MI-PB-BO)" userId="efff052d-68b9-4e8d-b65b-45dff653056d" providerId="ADAL" clId="{4E77B3E1-3366-4E21-A4A0-00058AAC76A0}" dt="2025-04-15T14:58:54.393" v="7020" actId="1076"/>
          <ac:spMkLst>
            <pc:docMk/>
            <pc:sldMk cId="4100352293" sldId="4198"/>
            <ac:spMk id="5" creationId="{86645093-9E35-4C88-1060-EEC5EE18E0A9}"/>
          </ac:spMkLst>
        </pc:spChg>
        <pc:spChg chg="add mod">
          <ac:chgData name="Ryterski Finn (HNE US-MI-PB-BO)" userId="efff052d-68b9-4e8d-b65b-45dff653056d" providerId="ADAL" clId="{4E77B3E1-3366-4E21-A4A0-00058AAC76A0}" dt="2025-04-15T09:00:30.512" v="2648"/>
          <ac:spMkLst>
            <pc:docMk/>
            <pc:sldMk cId="4100352293" sldId="4198"/>
            <ac:spMk id="6" creationId="{B983936C-3639-9696-0044-2B6C41B7A85D}"/>
          </ac:spMkLst>
        </pc:spChg>
        <pc:spChg chg="add mod">
          <ac:chgData name="Ryterski Finn (HNE US-MI-PB-BO)" userId="efff052d-68b9-4e8d-b65b-45dff653056d" providerId="ADAL" clId="{4E77B3E1-3366-4E21-A4A0-00058AAC76A0}" dt="2025-04-15T14:58:54.393" v="7020" actId="1076"/>
          <ac:spMkLst>
            <pc:docMk/>
            <pc:sldMk cId="4100352293" sldId="4198"/>
            <ac:spMk id="6" creationId="{D551FC86-5B8E-51B1-F091-D54B69B97332}"/>
          </ac:spMkLst>
        </pc:spChg>
        <pc:spChg chg="add del mod modVis">
          <ac:chgData name="Ryterski Finn (HNE US-MI-PB-BO)" userId="efff052d-68b9-4e8d-b65b-45dff653056d" providerId="ADAL" clId="{4E77B3E1-3366-4E21-A4A0-00058AAC76A0}" dt="2025-04-15T12:39:14.124" v="4809"/>
          <ac:spMkLst>
            <pc:docMk/>
            <pc:sldMk cId="4100352293" sldId="4198"/>
            <ac:spMk id="6" creationId="{F50F4026-0342-9000-5F39-83621456C982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8" creationId="{F24709EF-0B92-1BBE-6BE2-6133539F6B5D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9" creationId="{09E407AC-DB49-8F31-5F4A-C57B667F0347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9" creationId="{C4B9749D-CEFD-0976-ECDA-A0AE226A5362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11" creationId="{6F9079F5-CD3E-C425-D783-06B4C4DD6573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12" creationId="{1B4F3530-28F4-AB2E-0070-BF97C123A9EF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12" creationId="{772AF594-43A5-64FB-ECFE-D3BC2CAAE5D3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13" creationId="{FE178E0E-7169-B5F7-A5F6-E2CE3B72B4D7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14" creationId="{528240A8-F5D6-4644-E1B8-086B29940DA0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14" creationId="{9CB0CF45-EBCA-B846-F3DB-3393DF54289A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15" creationId="{09EF8CDB-DFAF-F03D-E0CF-E3C6EE8289A4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15" creationId="{A96D3495-D05E-72BD-DBA1-9C9BABFCFBE3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16" creationId="{A123B4C4-3BC6-D8EA-B197-9ACA0F7C09B9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17" creationId="{C448EB52-6F35-CF2A-4309-557D1DE76A9C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17" creationId="{CE7C1349-5F1A-686A-0C2D-5BF79824FBA4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18" creationId="{00E672C6-FF82-1666-53FB-50904D03E9FD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18" creationId="{2A406198-313B-5671-D0F7-4329BBC741FE}"/>
          </ac:spMkLst>
        </pc:spChg>
        <pc:spChg chg="add 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19" creationId="{02DDD553-D981-B925-50C0-BE2CBB8AB84B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19" creationId="{BB1881B9-5CC0-1049-D90B-99517D98ED55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20" creationId="{76B70174-D85F-88FF-359B-CB051B809841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21" creationId="{27C5253C-9BCB-7E21-1E29-6390EC921893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21" creationId="{B8EC5B4D-B164-93A1-3701-5824E5C425F7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22" creationId="{A7C53360-3A29-3D24-5F39-C86C31D59994}"/>
          </ac:spMkLst>
        </pc:spChg>
        <pc:spChg chg="add 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23" creationId="{F4D92817-D27F-CDC4-0E93-457D5D55B555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24" creationId="{90F21C7F-5CD0-1B44-AE66-BA75789B74A4}"/>
          </ac:spMkLst>
        </pc:spChg>
        <pc:spChg chg="add 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24" creationId="{EEF5173D-686E-8635-C6D8-2DA1D4A06EC8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25" creationId="{6A12ADC0-5E78-C73A-FBEE-F4BC210F6CBF}"/>
          </ac:spMkLst>
        </pc:spChg>
        <pc:spChg chg="add 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25" creationId="{BC91387F-5E25-4343-A831-1DEED2477811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26" creationId="{64AC6763-C8A5-1546-8A69-AFE0AA22541D}"/>
          </ac:spMkLst>
        </pc:spChg>
        <pc:spChg chg="add 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26" creationId="{CF6F0440-5F7E-E103-5F86-25BC0CFE41BA}"/>
          </ac:spMkLst>
        </pc:spChg>
        <pc:spChg chg="add 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27" creationId="{3922EE25-C44D-85CD-B6BF-07E41F5B178B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27" creationId="{A1042815-41D3-9DD4-FD24-47BFCEE1F59F}"/>
          </ac:spMkLst>
        </pc:spChg>
        <pc:spChg chg="add 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28" creationId="{71CB76B9-226C-FCCF-46C5-7D716570E9F0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30" creationId="{3D821ED8-7D73-5CBB-D0C0-AD42A4175780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31" creationId="{0F851D53-FFAB-684F-250A-7243137866AB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32" creationId="{529CA301-0FEE-354C-AA8B-FE39A7C26FB5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33" creationId="{E46EF90D-64E9-7095-8B95-6E91526424D5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34" creationId="{FDE383D7-5DF3-4ECC-EE51-2A47AEA017A5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35" creationId="{AEE235EF-CCE8-DE54-656D-CA5D257B19B3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35" creationId="{E1FFB847-A601-5D95-0291-6B5CF8717B82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36" creationId="{439884C5-1291-5616-9654-A27065CC5E5B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36" creationId="{B4DF498D-D029-6973-BEAC-F53C51386194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37" creationId="{37C86947-ED52-F9D0-605F-938A51560073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37" creationId="{45864A2F-9D83-54D9-4BBD-2BE4AF9E348A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38" creationId="{87C77B66-8C58-3FA7-7594-617565D37D42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38" creationId="{975C60FE-A562-EE29-3245-819FE9039E4A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39" creationId="{E0009432-5FCE-22CC-7C10-9B2098E195DF}"/>
          </ac:spMkLst>
        </pc:spChg>
        <pc:spChg chg="add del 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39" creationId="{E30CA141-4F53-2834-4440-E152AA104B8A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40" creationId="{2223723C-8B3B-BEEE-2348-14D4BDAC076E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40" creationId="{8480DAF1-5071-630D-44EC-B00E6A0B3A9F}"/>
          </ac:spMkLst>
        </pc:spChg>
        <pc:spChg chg="add del 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41" creationId="{7E5903B2-9697-2F99-FC9C-1878CBA5E364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42" creationId="{2856E2A8-27F4-1D77-18E2-310EAD2335A7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42" creationId="{2C1137B0-6227-8611-D77D-0449B46CEFD2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43" creationId="{22B0CA8A-61E2-73D9-DD9E-D198E1B12207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43" creationId="{3E561F02-EF44-4D5E-5285-9729A19FE8A3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44" creationId="{BB025BFC-8C1A-C2A8-1E86-A4313912A082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44" creationId="{D32E75F0-FED2-CF2A-8840-37AA3DDF9B8A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45" creationId="{F46C021A-AC45-81EF-2E12-0C6AB532B5EA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46" creationId="{653E5865-E02D-1DA1-685A-59DD8CC92736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46" creationId="{FB73AC6F-C195-98DB-6683-985602DF9E32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47" creationId="{9278B5EC-3A8A-5D8E-5EAA-9BE205BC1CBB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47" creationId="{BAD2E2EB-9701-3149-3C31-DE94E4F22444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48" creationId="{7C6DB38E-9A87-2613-9874-BBCB91AB2EB9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48" creationId="{AE97581F-AD60-181E-57EA-8B384DA89A17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49" creationId="{4D7D020C-0536-6BF0-D99E-4E9C7E6D4B85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49" creationId="{CC8F4A7E-F2A6-78BC-5455-5F6985A630C1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50" creationId="{220FE4A2-D673-0C81-9D0F-1F4CC04C1DD9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50" creationId="{EBCC681C-EF8D-EF31-2277-8241D9526BCA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51" creationId="{FD645B96-B336-9E50-5790-265F4107AA5C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52" creationId="{304CCDB3-0B22-BA2C-2AB1-54F8096B030C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52" creationId="{A1595F36-8AC7-0B93-B46E-F8C91AF4FB1A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53" creationId="{7E182629-E7EC-E2E1-61F4-AC5AF4A49A3A}"/>
          </ac:spMkLst>
        </pc:spChg>
        <pc:spChg chg="mod">
          <ac:chgData name="Ryterski Finn (HNE US-MI-PB-BO)" userId="efff052d-68b9-4e8d-b65b-45dff653056d" providerId="ADAL" clId="{4E77B3E1-3366-4E21-A4A0-00058AAC76A0}" dt="2025-04-15T14:56:00.489" v="7010" actId="1076"/>
          <ac:spMkLst>
            <pc:docMk/>
            <pc:sldMk cId="4100352293" sldId="4198"/>
            <ac:spMk id="53" creationId="{FB3D78DF-1ABF-7039-5992-B2F935A4C003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54" creationId="{15DC6D65-6808-45BC-BA43-809A3F7EBF5A}"/>
          </ac:spMkLst>
        </pc:spChg>
        <pc:spChg chg="add del mod">
          <ac:chgData name="Ryterski Finn (HNE US-MI-PB-BO)" userId="efff052d-68b9-4e8d-b65b-45dff653056d" providerId="ADAL" clId="{4E77B3E1-3366-4E21-A4A0-00058AAC76A0}" dt="2025-04-15T14:58:06.976" v="7011" actId="478"/>
          <ac:spMkLst>
            <pc:docMk/>
            <pc:sldMk cId="4100352293" sldId="4198"/>
            <ac:spMk id="55" creationId="{4488DDCC-B430-9DA4-FB20-A8B493F8FB16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55" creationId="{64CA0CEB-D61F-C068-59EC-E6C32B168817}"/>
          </ac:spMkLst>
        </pc:spChg>
        <pc:spChg chg="add mod">
          <ac:chgData name="Ryterski Finn (HNE US-MI-PB-BO)" userId="efff052d-68b9-4e8d-b65b-45dff653056d" providerId="ADAL" clId="{4E77B3E1-3366-4E21-A4A0-00058AAC76A0}" dt="2025-04-15T13:03:42.018" v="5367"/>
          <ac:spMkLst>
            <pc:docMk/>
            <pc:sldMk cId="4100352293" sldId="4198"/>
            <ac:spMk id="56" creationId="{5D2CBF1D-593E-20DA-CBB4-EA0F99F560B9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56" creationId="{71942D51-9A19-EAA4-40D8-7FE944335D55}"/>
          </ac:spMkLst>
        </pc:spChg>
        <pc:spChg chg="add 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57" creationId="{0711098D-B668-C4B9-EEB7-D922139958D5}"/>
          </ac:spMkLst>
        </pc:spChg>
        <pc:spChg chg="add mod">
          <ac:chgData name="Ryterski Finn (HNE US-MI-PB-BO)" userId="efff052d-68b9-4e8d-b65b-45dff653056d" providerId="ADAL" clId="{4E77B3E1-3366-4E21-A4A0-00058AAC76A0}" dt="2025-04-15T14:58:54.393" v="7020" actId="1076"/>
          <ac:spMkLst>
            <pc:docMk/>
            <pc:sldMk cId="4100352293" sldId="4198"/>
            <ac:spMk id="57" creationId="{5B9F08EC-92EC-BB4E-1369-689147A73053}"/>
          </ac:spMkLst>
        </pc:spChg>
        <pc:spChg chg="add mod">
          <ac:chgData name="Ryterski Finn (HNE US-MI-PB-BO)" userId="efff052d-68b9-4e8d-b65b-45dff653056d" providerId="ADAL" clId="{4E77B3E1-3366-4E21-A4A0-00058AAC76A0}" dt="2025-04-15T14:58:54.393" v="7020" actId="1076"/>
          <ac:spMkLst>
            <pc:docMk/>
            <pc:sldMk cId="4100352293" sldId="4198"/>
            <ac:spMk id="58" creationId="{EC8AAA03-63ED-DED5-0970-1F8D20A60B3F}"/>
          </ac:spMkLst>
        </pc:spChg>
        <pc:spChg chg="add mod">
          <ac:chgData name="Ryterski Finn (HNE US-MI-PB-BO)" userId="efff052d-68b9-4e8d-b65b-45dff653056d" providerId="ADAL" clId="{4E77B3E1-3366-4E21-A4A0-00058AAC76A0}" dt="2025-04-15T14:58:54.393" v="7020" actId="1076"/>
          <ac:spMkLst>
            <pc:docMk/>
            <pc:sldMk cId="4100352293" sldId="4198"/>
            <ac:spMk id="59" creationId="{807A85DA-FFA2-A8BB-03BC-122818A4AC81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59" creationId="{DA90F030-04C2-892F-DD32-1A0B9A647396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60" creationId="{59F1F3F4-EDFB-08D1-C1A8-4BEB0E289839}"/>
          </ac:spMkLst>
        </pc:spChg>
        <pc:spChg chg="add mod">
          <ac:chgData name="Ryterski Finn (HNE US-MI-PB-BO)" userId="efff052d-68b9-4e8d-b65b-45dff653056d" providerId="ADAL" clId="{4E77B3E1-3366-4E21-A4A0-00058AAC76A0}" dt="2025-04-15T14:58:54.393" v="7020" actId="1076"/>
          <ac:spMkLst>
            <pc:docMk/>
            <pc:sldMk cId="4100352293" sldId="4198"/>
            <ac:spMk id="60" creationId="{FB151B37-BB78-5603-F658-B999F0783C48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61" creationId="{115FA8EF-A38B-0E01-B3CF-7B28C9E106DB}"/>
          </ac:spMkLst>
        </pc:spChg>
        <pc:spChg chg="add 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62" creationId="{AF09360E-420E-C62A-2655-62C4FC0EC083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64" creationId="{B82F80AA-E1FE-D6AF-3BEB-570780E9B54E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65" creationId="{B34A7F92-4FCB-9703-F38F-10838EC69687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66" creationId="{88985A1D-3744-69EB-51E4-9CA3E9AC96C2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67" creationId="{381CABF1-89AC-6AC8-0014-1C2BCF9DE78A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68" creationId="{E83D2470-EA2E-D409-9D32-EDF780B895E4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69" creationId="{5586D650-50AC-2CED-BDC8-BC7878D04054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72" creationId="{27459CAC-B163-2201-3FD0-ADAAF8B5BED2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73" creationId="{DFA3ECFD-6653-D6F5-2CD8-4AB7BB7BF773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77" creationId="{5C9714BC-FAF3-4A85-313F-BCCA51EC7165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79" creationId="{BA1D074E-FCE0-3441-3AD3-56485328AD31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80" creationId="{BE2EC70D-CD62-1DEC-352F-8991113CA298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81" creationId="{211D6368-7B49-E457-008D-E8F7AEE9F561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82" creationId="{B10BF177-64A6-89EE-6F4A-42F4F930AAE5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83" creationId="{646BAD9D-5504-1AF5-2553-E777E38750C0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84" creationId="{5F9F2E3B-55F0-4E6A-1E71-5B992DBAF6C8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85" creationId="{78CC58AD-2088-F2D3-0C2D-5725228F32DE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86" creationId="{54301027-6880-6509-26BC-0B06C353C002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87" creationId="{332E4C08-B522-7FFB-6DDB-E9B0F3371D97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88" creationId="{9998EB66-7F60-7281-B23D-E899F8828119}"/>
          </ac:spMkLst>
        </pc:spChg>
        <pc:spChg chg="mod">
          <ac:chgData name="Ryterski Finn (HNE US-MI-PB-BO)" userId="efff052d-68b9-4e8d-b65b-45dff653056d" providerId="ADAL" clId="{4E77B3E1-3366-4E21-A4A0-00058AAC76A0}" dt="2025-04-15T09:00:22.122" v="2647"/>
          <ac:spMkLst>
            <pc:docMk/>
            <pc:sldMk cId="4100352293" sldId="4198"/>
            <ac:spMk id="89" creationId="{714D0BE3-F1F3-25B2-DA25-0A35F27C2159}"/>
          </ac:spMkLst>
        </pc:spChg>
        <pc:grpChg chg="add mod">
          <ac:chgData name="Ryterski Finn (HNE US-MI-PB-BO)" userId="efff052d-68b9-4e8d-b65b-45dff653056d" providerId="ADAL" clId="{4E77B3E1-3366-4E21-A4A0-00058AAC76A0}" dt="2025-04-15T09:00:22.122" v="2647"/>
          <ac:grpSpMkLst>
            <pc:docMk/>
            <pc:sldMk cId="4100352293" sldId="4198"/>
            <ac:grpSpMk id="7" creationId="{60973C40-8D6E-EC23-6D48-EBA10B886E5B}"/>
          </ac:grpSpMkLst>
        </pc:grpChg>
        <pc:grpChg chg="add del mod">
          <ac:chgData name="Ryterski Finn (HNE US-MI-PB-BO)" userId="efff052d-68b9-4e8d-b65b-45dff653056d" providerId="ADAL" clId="{4E77B3E1-3366-4E21-A4A0-00058AAC76A0}" dt="2025-04-15T14:58:08.630" v="7012" actId="478"/>
          <ac:grpSpMkLst>
            <pc:docMk/>
            <pc:sldMk cId="4100352293" sldId="4198"/>
            <ac:grpSpMk id="8" creationId="{837C83A6-B032-6FCF-06AC-8CA80AB745B1}"/>
          </ac:grpSpMkLst>
        </pc:grpChg>
        <pc:grpChg chg="mod">
          <ac:chgData name="Ryterski Finn (HNE US-MI-PB-BO)" userId="efff052d-68b9-4e8d-b65b-45dff653056d" providerId="ADAL" clId="{4E77B3E1-3366-4E21-A4A0-00058AAC76A0}" dt="2025-04-15T14:56:00.489" v="7010" actId="1076"/>
          <ac:grpSpMkLst>
            <pc:docMk/>
            <pc:sldMk cId="4100352293" sldId="4198"/>
            <ac:grpSpMk id="10" creationId="{05C5445A-64B6-7A28-A064-4F2F8EA09AC8}"/>
          </ac:grpSpMkLst>
        </pc:grpChg>
        <pc:grpChg chg="add mod">
          <ac:chgData name="Ryterski Finn (HNE US-MI-PB-BO)" userId="efff052d-68b9-4e8d-b65b-45dff653056d" providerId="ADAL" clId="{4E77B3E1-3366-4E21-A4A0-00058AAC76A0}" dt="2025-04-15T09:00:22.122" v="2647"/>
          <ac:grpSpMkLst>
            <pc:docMk/>
            <pc:sldMk cId="4100352293" sldId="4198"/>
            <ac:grpSpMk id="10" creationId="{B64FD640-6927-CD41-2842-69AE48DC18C3}"/>
          </ac:grpSpMkLst>
        </pc:grpChg>
        <pc:grpChg chg="mod">
          <ac:chgData name="Ryterski Finn (HNE US-MI-PB-BO)" userId="efff052d-68b9-4e8d-b65b-45dff653056d" providerId="ADAL" clId="{4E77B3E1-3366-4E21-A4A0-00058AAC76A0}" dt="2025-04-15T14:56:00.489" v="7010" actId="1076"/>
          <ac:grpSpMkLst>
            <pc:docMk/>
            <pc:sldMk cId="4100352293" sldId="4198"/>
            <ac:grpSpMk id="11" creationId="{6B2FAB8F-E53D-6D37-B096-B3A692EEBE9E}"/>
          </ac:grpSpMkLst>
        </pc:grpChg>
        <pc:grpChg chg="add mod">
          <ac:chgData name="Ryterski Finn (HNE US-MI-PB-BO)" userId="efff052d-68b9-4e8d-b65b-45dff653056d" providerId="ADAL" clId="{4E77B3E1-3366-4E21-A4A0-00058AAC76A0}" dt="2025-04-15T09:00:22.122" v="2647"/>
          <ac:grpSpMkLst>
            <pc:docMk/>
            <pc:sldMk cId="4100352293" sldId="4198"/>
            <ac:grpSpMk id="13" creationId="{22007A7A-B180-4A6C-3726-2B43F45B43CE}"/>
          </ac:grpSpMkLst>
        </pc:grpChg>
        <pc:grpChg chg="add mod">
          <ac:chgData name="Ryterski Finn (HNE US-MI-PB-BO)" userId="efff052d-68b9-4e8d-b65b-45dff653056d" providerId="ADAL" clId="{4E77B3E1-3366-4E21-A4A0-00058AAC76A0}" dt="2025-04-15T09:00:22.122" v="2647"/>
          <ac:grpSpMkLst>
            <pc:docMk/>
            <pc:sldMk cId="4100352293" sldId="4198"/>
            <ac:grpSpMk id="16" creationId="{9278F646-7A6D-C562-0708-F7B3E49052B4}"/>
          </ac:grpSpMkLst>
        </pc:grpChg>
        <pc:grpChg chg="add mod">
          <ac:chgData name="Ryterski Finn (HNE US-MI-PB-BO)" userId="efff052d-68b9-4e8d-b65b-45dff653056d" providerId="ADAL" clId="{4E77B3E1-3366-4E21-A4A0-00058AAC76A0}" dt="2025-04-15T09:00:22.122" v="2647"/>
          <ac:grpSpMkLst>
            <pc:docMk/>
            <pc:sldMk cId="4100352293" sldId="4198"/>
            <ac:grpSpMk id="20" creationId="{DC6041C3-389D-F628-04D3-F99182B75B97}"/>
          </ac:grpSpMkLst>
        </pc:grpChg>
        <pc:grpChg chg="mod">
          <ac:chgData name="Ryterski Finn (HNE US-MI-PB-BO)" userId="efff052d-68b9-4e8d-b65b-45dff653056d" providerId="ADAL" clId="{4E77B3E1-3366-4E21-A4A0-00058AAC76A0}" dt="2025-04-15T14:56:00.489" v="7010" actId="1076"/>
          <ac:grpSpMkLst>
            <pc:docMk/>
            <pc:sldMk cId="4100352293" sldId="4198"/>
            <ac:grpSpMk id="22" creationId="{A1EB494F-AB52-BC13-1C06-7535218FEECE}"/>
          </ac:grpSpMkLst>
        </pc:grpChg>
        <pc:grpChg chg="mod">
          <ac:chgData name="Ryterski Finn (HNE US-MI-PB-BO)" userId="efff052d-68b9-4e8d-b65b-45dff653056d" providerId="ADAL" clId="{4E77B3E1-3366-4E21-A4A0-00058AAC76A0}" dt="2025-04-15T14:56:00.489" v="7010" actId="1076"/>
          <ac:grpSpMkLst>
            <pc:docMk/>
            <pc:sldMk cId="4100352293" sldId="4198"/>
            <ac:grpSpMk id="23" creationId="{E2A984BB-AFC7-79BA-72B4-35B98DAFFA9C}"/>
          </ac:grpSpMkLst>
        </pc:grpChg>
        <pc:grpChg chg="add mod">
          <ac:chgData name="Ryterski Finn (HNE US-MI-PB-BO)" userId="efff052d-68b9-4e8d-b65b-45dff653056d" providerId="ADAL" clId="{4E77B3E1-3366-4E21-A4A0-00058AAC76A0}" dt="2025-04-15T09:00:22.122" v="2647"/>
          <ac:grpSpMkLst>
            <pc:docMk/>
            <pc:sldMk cId="4100352293" sldId="4198"/>
            <ac:grpSpMk id="29" creationId="{234F48D6-32EB-A19B-10C5-7359296F8F1F}"/>
          </ac:grpSpMkLst>
        </pc:grpChg>
        <pc:grpChg chg="add mod">
          <ac:chgData name="Ryterski Finn (HNE US-MI-PB-BO)" userId="efff052d-68b9-4e8d-b65b-45dff653056d" providerId="ADAL" clId="{4E77B3E1-3366-4E21-A4A0-00058AAC76A0}" dt="2025-04-15T09:00:22.122" v="2647"/>
          <ac:grpSpMkLst>
            <pc:docMk/>
            <pc:sldMk cId="4100352293" sldId="4198"/>
            <ac:grpSpMk id="34" creationId="{DCE9E478-33F1-310B-ABB9-91A3833CB834}"/>
          </ac:grpSpMkLst>
        </pc:grpChg>
        <pc:grpChg chg="add mod">
          <ac:chgData name="Ryterski Finn (HNE US-MI-PB-BO)" userId="efff052d-68b9-4e8d-b65b-45dff653056d" providerId="ADAL" clId="{4E77B3E1-3366-4E21-A4A0-00058AAC76A0}" dt="2025-04-15T09:00:22.122" v="2647"/>
          <ac:grpSpMkLst>
            <pc:docMk/>
            <pc:sldMk cId="4100352293" sldId="4198"/>
            <ac:grpSpMk id="41" creationId="{7BEDF695-A3BF-26DE-FADE-B8A0F7A300F4}"/>
          </ac:grpSpMkLst>
        </pc:grpChg>
        <pc:grpChg chg="add mod">
          <ac:chgData name="Ryterski Finn (HNE US-MI-PB-BO)" userId="efff052d-68b9-4e8d-b65b-45dff653056d" providerId="ADAL" clId="{4E77B3E1-3366-4E21-A4A0-00058AAC76A0}" dt="2025-04-15T09:00:22.122" v="2647"/>
          <ac:grpSpMkLst>
            <pc:docMk/>
            <pc:sldMk cId="4100352293" sldId="4198"/>
            <ac:grpSpMk id="45" creationId="{24E5BB7B-9E35-0483-D84A-CC6AE86427B1}"/>
          </ac:grpSpMkLst>
        </pc:grpChg>
        <pc:grpChg chg="add mod">
          <ac:chgData name="Ryterski Finn (HNE US-MI-PB-BO)" userId="efff052d-68b9-4e8d-b65b-45dff653056d" providerId="ADAL" clId="{4E77B3E1-3366-4E21-A4A0-00058AAC76A0}" dt="2025-04-15T09:00:22.122" v="2647"/>
          <ac:grpSpMkLst>
            <pc:docMk/>
            <pc:sldMk cId="4100352293" sldId="4198"/>
            <ac:grpSpMk id="51" creationId="{A361EE92-DF8C-B947-2A01-D35D40D2EDAC}"/>
          </ac:grpSpMkLst>
        </pc:grpChg>
        <pc:grpChg chg="add mod">
          <ac:chgData name="Ryterski Finn (HNE US-MI-PB-BO)" userId="efff052d-68b9-4e8d-b65b-45dff653056d" providerId="ADAL" clId="{4E77B3E1-3366-4E21-A4A0-00058AAC76A0}" dt="2025-04-15T09:00:22.122" v="2647"/>
          <ac:grpSpMkLst>
            <pc:docMk/>
            <pc:sldMk cId="4100352293" sldId="4198"/>
            <ac:grpSpMk id="58" creationId="{8E7FEF8F-B6CD-3F33-7306-DF3D262BD877}"/>
          </ac:grpSpMkLst>
        </pc:grpChg>
        <pc:grpChg chg="add mod">
          <ac:chgData name="Ryterski Finn (HNE US-MI-PB-BO)" userId="efff052d-68b9-4e8d-b65b-45dff653056d" providerId="ADAL" clId="{4E77B3E1-3366-4E21-A4A0-00058AAC76A0}" dt="2025-04-15T14:58:54.393" v="7020" actId="1076"/>
          <ac:grpSpMkLst>
            <pc:docMk/>
            <pc:sldMk cId="4100352293" sldId="4198"/>
            <ac:grpSpMk id="61" creationId="{35A6AD59-CC5E-58B2-3F75-827B7AAC54DF}"/>
          </ac:grpSpMkLst>
        </pc:grpChg>
        <pc:grpChg chg="add mod">
          <ac:chgData name="Ryterski Finn (HNE US-MI-PB-BO)" userId="efff052d-68b9-4e8d-b65b-45dff653056d" providerId="ADAL" clId="{4E77B3E1-3366-4E21-A4A0-00058AAC76A0}" dt="2025-04-15T09:00:22.122" v="2647"/>
          <ac:grpSpMkLst>
            <pc:docMk/>
            <pc:sldMk cId="4100352293" sldId="4198"/>
            <ac:grpSpMk id="63" creationId="{CE63CF5B-4BDC-8D8A-88EC-41D40816590C}"/>
          </ac:grpSpMkLst>
        </pc:grpChg>
        <pc:grpChg chg="mod">
          <ac:chgData name="Ryterski Finn (HNE US-MI-PB-BO)" userId="efff052d-68b9-4e8d-b65b-45dff653056d" providerId="ADAL" clId="{4E77B3E1-3366-4E21-A4A0-00058AAC76A0}" dt="2025-04-15T09:00:22.122" v="2647"/>
          <ac:grpSpMkLst>
            <pc:docMk/>
            <pc:sldMk cId="4100352293" sldId="4198"/>
            <ac:grpSpMk id="70" creationId="{5BE22C3C-765D-8337-D931-32A7C8A3792D}"/>
          </ac:grpSpMkLst>
        </pc:grpChg>
        <pc:grpChg chg="mod">
          <ac:chgData name="Ryterski Finn (HNE US-MI-PB-BO)" userId="efff052d-68b9-4e8d-b65b-45dff653056d" providerId="ADAL" clId="{4E77B3E1-3366-4E21-A4A0-00058AAC76A0}" dt="2025-04-15T09:00:22.122" v="2647"/>
          <ac:grpSpMkLst>
            <pc:docMk/>
            <pc:sldMk cId="4100352293" sldId="4198"/>
            <ac:grpSpMk id="71" creationId="{EC62C0DE-74EC-982F-5C08-F2082A5FCDEF}"/>
          </ac:grpSpMkLst>
        </pc:grpChg>
        <pc:grpChg chg="mod">
          <ac:chgData name="Ryterski Finn (HNE US-MI-PB-BO)" userId="efff052d-68b9-4e8d-b65b-45dff653056d" providerId="ADAL" clId="{4E77B3E1-3366-4E21-A4A0-00058AAC76A0}" dt="2025-04-15T09:00:22.122" v="2647"/>
          <ac:grpSpMkLst>
            <pc:docMk/>
            <pc:sldMk cId="4100352293" sldId="4198"/>
            <ac:grpSpMk id="74" creationId="{45873284-0B48-84D8-740B-AFBE214470F9}"/>
          </ac:grpSpMkLst>
        </pc:grpChg>
        <pc:grpChg chg="mod">
          <ac:chgData name="Ryterski Finn (HNE US-MI-PB-BO)" userId="efff052d-68b9-4e8d-b65b-45dff653056d" providerId="ADAL" clId="{4E77B3E1-3366-4E21-A4A0-00058AAC76A0}" dt="2025-04-15T09:00:22.122" v="2647"/>
          <ac:grpSpMkLst>
            <pc:docMk/>
            <pc:sldMk cId="4100352293" sldId="4198"/>
            <ac:grpSpMk id="75" creationId="{CEADF31B-ABE2-C3A7-3648-03D135075A2E}"/>
          </ac:grpSpMkLst>
        </pc:grpChg>
        <pc:grpChg chg="mod">
          <ac:chgData name="Ryterski Finn (HNE US-MI-PB-BO)" userId="efff052d-68b9-4e8d-b65b-45dff653056d" providerId="ADAL" clId="{4E77B3E1-3366-4E21-A4A0-00058AAC76A0}" dt="2025-04-15T09:00:22.122" v="2647"/>
          <ac:grpSpMkLst>
            <pc:docMk/>
            <pc:sldMk cId="4100352293" sldId="4198"/>
            <ac:grpSpMk id="76" creationId="{733A346E-81B0-B0BB-334F-A9193F70FAE2}"/>
          </ac:grpSpMkLst>
        </pc:grpChg>
        <pc:graphicFrameChg chg="add mod ord modVis">
          <ac:chgData name="Ryterski Finn (HNE US-MI-PB-BO)" userId="efff052d-68b9-4e8d-b65b-45dff653056d" providerId="ADAL" clId="{4E77B3E1-3366-4E21-A4A0-00058AAC76A0}" dt="2025-04-15T12:39:14.174" v="4823"/>
          <ac:graphicFrameMkLst>
            <pc:docMk/>
            <pc:sldMk cId="4100352293" sldId="4198"/>
            <ac:graphicFrameMk id="7" creationId="{D62ACF7B-5BC0-5E64-7ECB-6B656E31DD1D}"/>
          </ac:graphicFrameMkLst>
        </pc:graphicFrameChg>
        <pc:picChg chg="add del mod modCrop">
          <ac:chgData name="Ryterski Finn (HNE US-MI-PB-BO)" userId="efff052d-68b9-4e8d-b65b-45dff653056d" providerId="ADAL" clId="{4E77B3E1-3366-4E21-A4A0-00058AAC76A0}" dt="2025-04-15T14:58:06.976" v="7011" actId="478"/>
          <ac:picMkLst>
            <pc:docMk/>
            <pc:sldMk cId="4100352293" sldId="4198"/>
            <ac:picMk id="54" creationId="{BAD0F33D-581D-7AA5-B67D-7D1D1021AD75}"/>
          </ac:picMkLst>
        </pc:picChg>
        <pc:picChg chg="mod">
          <ac:chgData name="Ryterski Finn (HNE US-MI-PB-BO)" userId="efff052d-68b9-4e8d-b65b-45dff653056d" providerId="ADAL" clId="{4E77B3E1-3366-4E21-A4A0-00058AAC76A0}" dt="2025-04-15T09:00:22.122" v="2647"/>
          <ac:picMkLst>
            <pc:docMk/>
            <pc:sldMk cId="4100352293" sldId="4198"/>
            <ac:picMk id="78" creationId="{C8272FAE-2846-723E-D0CD-001577BB5065}"/>
          </ac:picMkLst>
        </pc:picChg>
        <pc:cxnChg chg="mod">
          <ac:chgData name="Ryterski Finn (HNE US-MI-PB-BO)" userId="efff052d-68b9-4e8d-b65b-45dff653056d" providerId="ADAL" clId="{4E77B3E1-3366-4E21-A4A0-00058AAC76A0}" dt="2025-04-15T14:56:00.489" v="7010" actId="1076"/>
          <ac:cxnSpMkLst>
            <pc:docMk/>
            <pc:sldMk cId="4100352293" sldId="4198"/>
            <ac:cxnSpMk id="28" creationId="{9D3C83F2-8F4B-5F95-D1FD-A30F6DB11737}"/>
          </ac:cxnSpMkLst>
        </pc:cxnChg>
        <pc:cxnChg chg="mod">
          <ac:chgData name="Ryterski Finn (HNE US-MI-PB-BO)" userId="efff052d-68b9-4e8d-b65b-45dff653056d" providerId="ADAL" clId="{4E77B3E1-3366-4E21-A4A0-00058AAC76A0}" dt="2025-04-15T14:56:00.489" v="7010" actId="1076"/>
          <ac:cxnSpMkLst>
            <pc:docMk/>
            <pc:sldMk cId="4100352293" sldId="4198"/>
            <ac:cxnSpMk id="29" creationId="{7A08741E-BE02-AFA0-79DB-8AF8AC707B61}"/>
          </ac:cxnSpMkLst>
        </pc:cxnChg>
        <pc:cxnChg chg="mod">
          <ac:chgData name="Ryterski Finn (HNE US-MI-PB-BO)" userId="efff052d-68b9-4e8d-b65b-45dff653056d" providerId="ADAL" clId="{4E77B3E1-3366-4E21-A4A0-00058AAC76A0}" dt="2025-04-15T14:56:00.489" v="7010" actId="1076"/>
          <ac:cxnSpMkLst>
            <pc:docMk/>
            <pc:sldMk cId="4100352293" sldId="4198"/>
            <ac:cxnSpMk id="30" creationId="{ED442D3F-468B-21CD-D4C3-33068A06C134}"/>
          </ac:cxnSpMkLst>
        </pc:cxnChg>
        <pc:cxnChg chg="mod">
          <ac:chgData name="Ryterski Finn (HNE US-MI-PB-BO)" userId="efff052d-68b9-4e8d-b65b-45dff653056d" providerId="ADAL" clId="{4E77B3E1-3366-4E21-A4A0-00058AAC76A0}" dt="2025-04-15T14:56:00.489" v="7010" actId="1076"/>
          <ac:cxnSpMkLst>
            <pc:docMk/>
            <pc:sldMk cId="4100352293" sldId="4198"/>
            <ac:cxnSpMk id="31" creationId="{BC18F87B-540D-1C41-7469-583D060B757B}"/>
          </ac:cxnSpMkLst>
        </pc:cxnChg>
        <pc:cxnChg chg="mod">
          <ac:chgData name="Ryterski Finn (HNE US-MI-PB-BO)" userId="efff052d-68b9-4e8d-b65b-45dff653056d" providerId="ADAL" clId="{4E77B3E1-3366-4E21-A4A0-00058AAC76A0}" dt="2025-04-15T14:56:00.489" v="7010" actId="1076"/>
          <ac:cxnSpMkLst>
            <pc:docMk/>
            <pc:sldMk cId="4100352293" sldId="4198"/>
            <ac:cxnSpMk id="32" creationId="{4720B116-A6A1-5129-FF6B-CC706832E086}"/>
          </ac:cxnSpMkLst>
        </pc:cxnChg>
        <pc:cxnChg chg="mod">
          <ac:chgData name="Ryterski Finn (HNE US-MI-PB-BO)" userId="efff052d-68b9-4e8d-b65b-45dff653056d" providerId="ADAL" clId="{4E77B3E1-3366-4E21-A4A0-00058AAC76A0}" dt="2025-04-15T14:56:00.489" v="7010" actId="1076"/>
          <ac:cxnSpMkLst>
            <pc:docMk/>
            <pc:sldMk cId="4100352293" sldId="4198"/>
            <ac:cxnSpMk id="33" creationId="{B17A0029-E24B-D1D9-DA50-5B8A8F9EFA90}"/>
          </ac:cxnSpMkLst>
        </pc:cxnChg>
      </pc:sldChg>
      <pc:sldChg chg="addSp delSp modSp new mod modClrScheme chgLayout">
        <pc:chgData name="Ryterski Finn (HNE US-MI-PB-BO)" userId="efff052d-68b9-4e8d-b65b-45dff653056d" providerId="ADAL" clId="{4E77B3E1-3366-4E21-A4A0-00058AAC76A0}" dt="2025-04-15T14:41:26.051" v="6939"/>
        <pc:sldMkLst>
          <pc:docMk/>
          <pc:sldMk cId="1660444777" sldId="4199"/>
        </pc:sldMkLst>
        <pc:spChg chg="del mod ord">
          <ac:chgData name="Ryterski Finn (HNE US-MI-PB-BO)" userId="efff052d-68b9-4e8d-b65b-45dff653056d" providerId="ADAL" clId="{4E77B3E1-3366-4E21-A4A0-00058AAC76A0}" dt="2025-04-15T12:20:04.934" v="4147" actId="700"/>
          <ac:spMkLst>
            <pc:docMk/>
            <pc:sldMk cId="1660444777" sldId="4199"/>
            <ac:spMk id="2" creationId="{B84DF3E0-EFCF-427F-133E-FC448B2B8FDA}"/>
          </ac:spMkLst>
        </pc:spChg>
        <pc:spChg chg="del">
          <ac:chgData name="Ryterski Finn (HNE US-MI-PB-BO)" userId="efff052d-68b9-4e8d-b65b-45dff653056d" providerId="ADAL" clId="{4E77B3E1-3366-4E21-A4A0-00058AAC76A0}" dt="2025-04-15T12:20:04.934" v="4147" actId="700"/>
          <ac:spMkLst>
            <pc:docMk/>
            <pc:sldMk cId="1660444777" sldId="4199"/>
            <ac:spMk id="3" creationId="{2CA2C8E5-7441-9B1B-DEB6-9CDEC4FBD31A}"/>
          </ac:spMkLst>
        </pc:spChg>
        <pc:spChg chg="add del mod ord">
          <ac:chgData name="Ryterski Finn (HNE US-MI-PB-BO)" userId="efff052d-68b9-4e8d-b65b-45dff653056d" providerId="ADAL" clId="{4E77B3E1-3366-4E21-A4A0-00058AAC76A0}" dt="2025-04-15T12:30:59.046" v="4620" actId="478"/>
          <ac:spMkLst>
            <pc:docMk/>
            <pc:sldMk cId="1660444777" sldId="4199"/>
            <ac:spMk id="4" creationId="{F0A1018C-FB9C-293F-3854-523A9DD60B08}"/>
          </ac:spMkLst>
        </pc:spChg>
        <pc:spChg chg="add del mod ord">
          <ac:chgData name="Ryterski Finn (HNE US-MI-PB-BO)" userId="efff052d-68b9-4e8d-b65b-45dff653056d" providerId="ADAL" clId="{4E77B3E1-3366-4E21-A4A0-00058AAC76A0}" dt="2025-04-15T12:42:46.931" v="4854" actId="478"/>
          <ac:spMkLst>
            <pc:docMk/>
            <pc:sldMk cId="1660444777" sldId="4199"/>
            <ac:spMk id="5" creationId="{D9A3B1F9-8333-FE17-3977-037B330D4535}"/>
          </ac:spMkLst>
        </pc:spChg>
        <pc:spChg chg="mod ord topLvl">
          <ac:chgData name="Ryterski Finn (HNE US-MI-PB-BO)" userId="efff052d-68b9-4e8d-b65b-45dff653056d" providerId="ADAL" clId="{4E77B3E1-3366-4E21-A4A0-00058AAC76A0}" dt="2025-04-15T12:27:39.406" v="4515"/>
          <ac:spMkLst>
            <pc:docMk/>
            <pc:sldMk cId="1660444777" sldId="4199"/>
            <ac:spMk id="8" creationId="{191F2739-97E5-03D6-6C2C-DFE34276B2E4}"/>
          </ac:spMkLst>
        </pc:spChg>
        <pc:spChg chg="del mod topLvl">
          <ac:chgData name="Ryterski Finn (HNE US-MI-PB-BO)" userId="efff052d-68b9-4e8d-b65b-45dff653056d" providerId="ADAL" clId="{4E77B3E1-3366-4E21-A4A0-00058AAC76A0}" dt="2025-04-15T12:27:27.021" v="4504" actId="478"/>
          <ac:spMkLst>
            <pc:docMk/>
            <pc:sldMk cId="1660444777" sldId="4199"/>
            <ac:spMk id="9" creationId="{7D65FDB3-0D9B-CBF6-3429-E7CA4C7B6FAA}"/>
          </ac:spMkLst>
        </pc:spChg>
        <pc:spChg chg="mod">
          <ac:chgData name="Ryterski Finn (HNE US-MI-PB-BO)" userId="efff052d-68b9-4e8d-b65b-45dff653056d" providerId="ADAL" clId="{4E77B3E1-3366-4E21-A4A0-00058AAC76A0}" dt="2025-04-15T12:20:05.282" v="4148"/>
          <ac:spMkLst>
            <pc:docMk/>
            <pc:sldMk cId="1660444777" sldId="4199"/>
            <ac:spMk id="11" creationId="{BDDEC22D-1402-74DD-2095-70E629E8BB4B}"/>
          </ac:spMkLst>
        </pc:spChg>
        <pc:spChg chg="mod">
          <ac:chgData name="Ryterski Finn (HNE US-MI-PB-BO)" userId="efff052d-68b9-4e8d-b65b-45dff653056d" providerId="ADAL" clId="{4E77B3E1-3366-4E21-A4A0-00058AAC76A0}" dt="2025-04-15T12:20:05.282" v="4148"/>
          <ac:spMkLst>
            <pc:docMk/>
            <pc:sldMk cId="1660444777" sldId="4199"/>
            <ac:spMk id="12" creationId="{FC93C7E7-FF68-BC67-58FD-7B05CFDEE8CF}"/>
          </ac:spMkLst>
        </pc:spChg>
        <pc:spChg chg="mod">
          <ac:chgData name="Ryterski Finn (HNE US-MI-PB-BO)" userId="efff052d-68b9-4e8d-b65b-45dff653056d" providerId="ADAL" clId="{4E77B3E1-3366-4E21-A4A0-00058AAC76A0}" dt="2025-04-15T12:20:05.282" v="4148"/>
          <ac:spMkLst>
            <pc:docMk/>
            <pc:sldMk cId="1660444777" sldId="4199"/>
            <ac:spMk id="15" creationId="{CBFCC578-CC29-76CA-16CF-6543357237A6}"/>
          </ac:spMkLst>
        </pc:spChg>
        <pc:spChg chg="mod">
          <ac:chgData name="Ryterski Finn (HNE US-MI-PB-BO)" userId="efff052d-68b9-4e8d-b65b-45dff653056d" providerId="ADAL" clId="{4E77B3E1-3366-4E21-A4A0-00058AAC76A0}" dt="2025-04-15T12:20:05.282" v="4148"/>
          <ac:spMkLst>
            <pc:docMk/>
            <pc:sldMk cId="1660444777" sldId="4199"/>
            <ac:spMk id="16" creationId="{7617D2A5-1A87-1DBE-F4F0-B46D0E1CC935}"/>
          </ac:spMkLst>
        </pc:spChg>
        <pc:spChg chg="mod">
          <ac:chgData name="Ryterski Finn (HNE US-MI-PB-BO)" userId="efff052d-68b9-4e8d-b65b-45dff653056d" providerId="ADAL" clId="{4E77B3E1-3366-4E21-A4A0-00058AAC76A0}" dt="2025-04-15T12:20:05.282" v="4148"/>
          <ac:spMkLst>
            <pc:docMk/>
            <pc:sldMk cId="1660444777" sldId="4199"/>
            <ac:spMk id="18" creationId="{658C5EAD-32B7-AE90-45E4-7D7F8E0D6E93}"/>
          </ac:spMkLst>
        </pc:spChg>
        <pc:spChg chg="mod">
          <ac:chgData name="Ryterski Finn (HNE US-MI-PB-BO)" userId="efff052d-68b9-4e8d-b65b-45dff653056d" providerId="ADAL" clId="{4E77B3E1-3366-4E21-A4A0-00058AAC76A0}" dt="2025-04-15T13:02:51.937" v="5356" actId="1076"/>
          <ac:spMkLst>
            <pc:docMk/>
            <pc:sldMk cId="1660444777" sldId="4199"/>
            <ac:spMk id="19" creationId="{0B8F4438-C91F-848C-83FC-A59A3C9F2D04}"/>
          </ac:spMkLst>
        </pc:spChg>
        <pc:spChg chg="mod">
          <ac:chgData name="Ryterski Finn (HNE US-MI-PB-BO)" userId="efff052d-68b9-4e8d-b65b-45dff653056d" providerId="ADAL" clId="{4E77B3E1-3366-4E21-A4A0-00058AAC76A0}" dt="2025-04-15T13:02:48.720" v="5355" actId="1076"/>
          <ac:spMkLst>
            <pc:docMk/>
            <pc:sldMk cId="1660444777" sldId="4199"/>
            <ac:spMk id="20" creationId="{F479BADC-5FB8-A2CF-740D-5B1285D28355}"/>
          </ac:spMkLst>
        </pc:spChg>
        <pc:spChg chg="add del mod ord">
          <ac:chgData name="Ryterski Finn (HNE US-MI-PB-BO)" userId="efff052d-68b9-4e8d-b65b-45dff653056d" providerId="ADAL" clId="{4E77B3E1-3366-4E21-A4A0-00058AAC76A0}" dt="2025-04-15T12:27:30.227" v="4506" actId="478"/>
          <ac:spMkLst>
            <pc:docMk/>
            <pc:sldMk cId="1660444777" sldId="4199"/>
            <ac:spMk id="22" creationId="{16B2EB84-81F0-34D0-3715-83BFB4A88DC6}"/>
          </ac:spMkLst>
        </pc:spChg>
        <pc:spChg chg="add del mod ord">
          <ac:chgData name="Ryterski Finn (HNE US-MI-PB-BO)" userId="efff052d-68b9-4e8d-b65b-45dff653056d" providerId="ADAL" clId="{4E77B3E1-3366-4E21-A4A0-00058AAC76A0}" dt="2025-04-15T12:27:28.365" v="4505" actId="478"/>
          <ac:spMkLst>
            <pc:docMk/>
            <pc:sldMk cId="1660444777" sldId="4199"/>
            <ac:spMk id="23" creationId="{C7286D58-3268-F084-2C48-9617D6DE6522}"/>
          </ac:spMkLst>
        </pc:spChg>
        <pc:spChg chg="mod">
          <ac:chgData name="Ryterski Finn (HNE US-MI-PB-BO)" userId="efff052d-68b9-4e8d-b65b-45dff653056d" providerId="ADAL" clId="{4E77B3E1-3366-4E21-A4A0-00058AAC76A0}" dt="2025-04-15T12:24:28.173" v="4316" actId="1076"/>
          <ac:spMkLst>
            <pc:docMk/>
            <pc:sldMk cId="1660444777" sldId="4199"/>
            <ac:spMk id="27" creationId="{985FDAD3-11BA-CB5B-AC2E-31EA7A616408}"/>
          </ac:spMkLst>
        </pc:spChg>
        <pc:spChg chg="mod">
          <ac:chgData name="Ryterski Finn (HNE US-MI-PB-BO)" userId="efff052d-68b9-4e8d-b65b-45dff653056d" providerId="ADAL" clId="{4E77B3E1-3366-4E21-A4A0-00058AAC76A0}" dt="2025-04-15T12:24:28.173" v="4316" actId="1076"/>
          <ac:spMkLst>
            <pc:docMk/>
            <pc:sldMk cId="1660444777" sldId="4199"/>
            <ac:spMk id="28" creationId="{BB465511-97A8-A5F2-53F1-605DF398EB48}"/>
          </ac:spMkLst>
        </pc:spChg>
        <pc:spChg chg="add del mod">
          <ac:chgData name="Ryterski Finn (HNE US-MI-PB-BO)" userId="efff052d-68b9-4e8d-b65b-45dff653056d" providerId="ADAL" clId="{4E77B3E1-3366-4E21-A4A0-00058AAC76A0}" dt="2025-04-15T12:23:16.114" v="4301" actId="478"/>
          <ac:spMkLst>
            <pc:docMk/>
            <pc:sldMk cId="1660444777" sldId="4199"/>
            <ac:spMk id="29" creationId="{9581D08F-EE6E-F79D-3426-D9F16E46DBB7}"/>
          </ac:spMkLst>
        </pc:spChg>
        <pc:spChg chg="add del mod">
          <ac:chgData name="Ryterski Finn (HNE US-MI-PB-BO)" userId="efff052d-68b9-4e8d-b65b-45dff653056d" providerId="ADAL" clId="{4E77B3E1-3366-4E21-A4A0-00058AAC76A0}" dt="2025-04-15T12:24:33.181" v="4317" actId="478"/>
          <ac:spMkLst>
            <pc:docMk/>
            <pc:sldMk cId="1660444777" sldId="4199"/>
            <ac:spMk id="30" creationId="{81E0F6FC-1082-81FA-5801-B85B6DCEF719}"/>
          </ac:spMkLst>
        </pc:spChg>
        <pc:spChg chg="add del mod">
          <ac:chgData name="Ryterski Finn (HNE US-MI-PB-BO)" userId="efff052d-68b9-4e8d-b65b-45dff653056d" providerId="ADAL" clId="{4E77B3E1-3366-4E21-A4A0-00058AAC76A0}" dt="2025-04-15T12:24:43.671" v="4320" actId="478"/>
          <ac:spMkLst>
            <pc:docMk/>
            <pc:sldMk cId="1660444777" sldId="4199"/>
            <ac:spMk id="31" creationId="{F0BE247A-A57E-219C-E0CC-9205EB39818A}"/>
          </ac:spMkLst>
        </pc:spChg>
        <pc:spChg chg="mod">
          <ac:chgData name="Ryterski Finn (HNE US-MI-PB-BO)" userId="efff052d-68b9-4e8d-b65b-45dff653056d" providerId="ADAL" clId="{4E77B3E1-3366-4E21-A4A0-00058AAC76A0}" dt="2025-04-15T12:24:35.620" v="4319"/>
          <ac:spMkLst>
            <pc:docMk/>
            <pc:sldMk cId="1660444777" sldId="4199"/>
            <ac:spMk id="33" creationId="{C51475C6-7786-CBD2-9B78-DAB93FA7D13E}"/>
          </ac:spMkLst>
        </pc:spChg>
        <pc:spChg chg="mod">
          <ac:chgData name="Ryterski Finn (HNE US-MI-PB-BO)" userId="efff052d-68b9-4e8d-b65b-45dff653056d" providerId="ADAL" clId="{4E77B3E1-3366-4E21-A4A0-00058AAC76A0}" dt="2025-04-15T12:24:35.620" v="4319"/>
          <ac:spMkLst>
            <pc:docMk/>
            <pc:sldMk cId="1660444777" sldId="4199"/>
            <ac:spMk id="34" creationId="{4C36C021-7D16-CA4F-D198-ECDBE7804C9A}"/>
          </ac:spMkLst>
        </pc:spChg>
        <pc:spChg chg="add mod">
          <ac:chgData name="Ryterski Finn (HNE US-MI-PB-BO)" userId="efff052d-68b9-4e8d-b65b-45dff653056d" providerId="ADAL" clId="{4E77B3E1-3366-4E21-A4A0-00058AAC76A0}" dt="2025-04-15T12:24:44.067" v="4321"/>
          <ac:spMkLst>
            <pc:docMk/>
            <pc:sldMk cId="1660444777" sldId="4199"/>
            <ac:spMk id="35" creationId="{92F0FB7F-0856-C1F5-5782-9C1C551EB2C9}"/>
          </ac:spMkLst>
        </pc:spChg>
        <pc:spChg chg="add mod ord">
          <ac:chgData name="Ryterski Finn (HNE US-MI-PB-BO)" userId="efff052d-68b9-4e8d-b65b-45dff653056d" providerId="ADAL" clId="{4E77B3E1-3366-4E21-A4A0-00058AAC76A0}" dt="2025-04-15T12:27:39.413" v="4523"/>
          <ac:spMkLst>
            <pc:docMk/>
            <pc:sldMk cId="1660444777" sldId="4199"/>
            <ac:spMk id="36" creationId="{02B3C7F7-2385-4FC4-B87C-B87717818C26}"/>
          </ac:spMkLst>
        </pc:spChg>
        <pc:spChg chg="add mod ord">
          <ac:chgData name="Ryterski Finn (HNE US-MI-PB-BO)" userId="efff052d-68b9-4e8d-b65b-45dff653056d" providerId="ADAL" clId="{4E77B3E1-3366-4E21-A4A0-00058AAC76A0}" dt="2025-04-15T12:27:39.411" v="4521"/>
          <ac:spMkLst>
            <pc:docMk/>
            <pc:sldMk cId="1660444777" sldId="4199"/>
            <ac:spMk id="37" creationId="{888D6B6F-7D9F-5586-470E-2965A3310D40}"/>
          </ac:spMkLst>
        </pc:spChg>
        <pc:spChg chg="mod ord topLvl">
          <ac:chgData name="Ryterski Finn (HNE US-MI-PB-BO)" userId="efff052d-68b9-4e8d-b65b-45dff653056d" providerId="ADAL" clId="{4E77B3E1-3366-4E21-A4A0-00058AAC76A0}" dt="2025-04-15T12:27:54.008" v="4534" actId="14100"/>
          <ac:spMkLst>
            <pc:docMk/>
            <pc:sldMk cId="1660444777" sldId="4199"/>
            <ac:spMk id="39" creationId="{DB5BAD52-4876-6B64-9972-99885063E724}"/>
          </ac:spMkLst>
        </pc:spChg>
        <pc:spChg chg="del mod topLvl">
          <ac:chgData name="Ryterski Finn (HNE US-MI-PB-BO)" userId="efff052d-68b9-4e8d-b65b-45dff653056d" providerId="ADAL" clId="{4E77B3E1-3366-4E21-A4A0-00058AAC76A0}" dt="2025-04-15T12:26:28.227" v="4438" actId="478"/>
          <ac:spMkLst>
            <pc:docMk/>
            <pc:sldMk cId="1660444777" sldId="4199"/>
            <ac:spMk id="40" creationId="{8D390A9F-E6D1-05D1-525B-E939A8786284}"/>
          </ac:spMkLst>
        </pc:spChg>
        <pc:spChg chg="add mod ord">
          <ac:chgData name="Ryterski Finn (HNE US-MI-PB-BO)" userId="efff052d-68b9-4e8d-b65b-45dff653056d" providerId="ADAL" clId="{4E77B3E1-3366-4E21-A4A0-00058AAC76A0}" dt="2025-04-15T12:27:52.286" v="4533" actId="14100"/>
          <ac:spMkLst>
            <pc:docMk/>
            <pc:sldMk cId="1660444777" sldId="4199"/>
            <ac:spMk id="41" creationId="{A9942520-240F-6C18-A69B-8CEE29C18436}"/>
          </ac:spMkLst>
        </pc:spChg>
        <pc:spChg chg="add del mod">
          <ac:chgData name="Ryterski Finn (HNE US-MI-PB-BO)" userId="efff052d-68b9-4e8d-b65b-45dff653056d" providerId="ADAL" clId="{4E77B3E1-3366-4E21-A4A0-00058AAC76A0}" dt="2025-04-15T12:31:05.270" v="4625" actId="478"/>
          <ac:spMkLst>
            <pc:docMk/>
            <pc:sldMk cId="1660444777" sldId="4199"/>
            <ac:spMk id="43" creationId="{B15187A2-573F-D98E-74A9-6D0B8352446C}"/>
          </ac:spMkLst>
        </pc:spChg>
        <pc:spChg chg="add mod">
          <ac:chgData name="Ryterski Finn (HNE US-MI-PB-BO)" userId="efff052d-68b9-4e8d-b65b-45dff653056d" providerId="ADAL" clId="{4E77B3E1-3366-4E21-A4A0-00058AAC76A0}" dt="2025-04-15T13:03:26.382" v="5362" actId="108"/>
          <ac:spMkLst>
            <pc:docMk/>
            <pc:sldMk cId="1660444777" sldId="4199"/>
            <ac:spMk id="44" creationId="{475BA82A-ACF2-0CCA-88ED-8181FE42F7B4}"/>
          </ac:spMkLst>
        </pc:spChg>
        <pc:spChg chg="add mod">
          <ac:chgData name="Ryterski Finn (HNE US-MI-PB-BO)" userId="efff052d-68b9-4e8d-b65b-45dff653056d" providerId="ADAL" clId="{4E77B3E1-3366-4E21-A4A0-00058AAC76A0}" dt="2025-04-15T14:41:26.051" v="6939"/>
          <ac:spMkLst>
            <pc:docMk/>
            <pc:sldMk cId="1660444777" sldId="4199"/>
            <ac:spMk id="45" creationId="{7D11BD6C-B34F-DC7F-8553-E028E762BE4D}"/>
          </ac:spMkLst>
        </pc:spChg>
        <pc:grpChg chg="add del mod ord">
          <ac:chgData name="Ryterski Finn (HNE US-MI-PB-BO)" userId="efff052d-68b9-4e8d-b65b-45dff653056d" providerId="ADAL" clId="{4E77B3E1-3366-4E21-A4A0-00058AAC76A0}" dt="2025-04-15T12:27:27.021" v="4504" actId="478"/>
          <ac:grpSpMkLst>
            <pc:docMk/>
            <pc:sldMk cId="1660444777" sldId="4199"/>
            <ac:grpSpMk id="7" creationId="{EB2B5B5D-FC3E-1B31-78FF-A91B9E734D31}"/>
          </ac:grpSpMkLst>
        </pc:grpChg>
        <pc:grpChg chg="add del mod ord">
          <ac:chgData name="Ryterski Finn (HNE US-MI-PB-BO)" userId="efff052d-68b9-4e8d-b65b-45dff653056d" providerId="ADAL" clId="{4E77B3E1-3366-4E21-A4A0-00058AAC76A0}" dt="2025-04-15T12:27:23.981" v="4501" actId="478"/>
          <ac:grpSpMkLst>
            <pc:docMk/>
            <pc:sldMk cId="1660444777" sldId="4199"/>
            <ac:grpSpMk id="10" creationId="{F5842028-8135-8750-A071-B15AD6C585F0}"/>
          </ac:grpSpMkLst>
        </pc:grpChg>
        <pc:grpChg chg="add del mod ord">
          <ac:chgData name="Ryterski Finn (HNE US-MI-PB-BO)" userId="efff052d-68b9-4e8d-b65b-45dff653056d" providerId="ADAL" clId="{4E77B3E1-3366-4E21-A4A0-00058AAC76A0}" dt="2025-04-15T12:21:38.637" v="4243" actId="478"/>
          <ac:grpSpMkLst>
            <pc:docMk/>
            <pc:sldMk cId="1660444777" sldId="4199"/>
            <ac:grpSpMk id="14" creationId="{58920E1C-6284-388E-2907-47C5B12B6C7B}"/>
          </ac:grpSpMkLst>
        </pc:grpChg>
        <pc:grpChg chg="add mod ord">
          <ac:chgData name="Ryterski Finn (HNE US-MI-PB-BO)" userId="efff052d-68b9-4e8d-b65b-45dff653056d" providerId="ADAL" clId="{4E77B3E1-3366-4E21-A4A0-00058AAC76A0}" dt="2025-04-15T12:27:39.417" v="4529"/>
          <ac:grpSpMkLst>
            <pc:docMk/>
            <pc:sldMk cId="1660444777" sldId="4199"/>
            <ac:grpSpMk id="17" creationId="{53D6189A-DD30-BF3C-354A-5A65219A0CBE}"/>
          </ac:grpSpMkLst>
        </pc:grpChg>
        <pc:grpChg chg="add mod ord">
          <ac:chgData name="Ryterski Finn (HNE US-MI-PB-BO)" userId="efff052d-68b9-4e8d-b65b-45dff653056d" providerId="ADAL" clId="{4E77B3E1-3366-4E21-A4A0-00058AAC76A0}" dt="2025-04-15T12:27:39.410" v="4519"/>
          <ac:grpSpMkLst>
            <pc:docMk/>
            <pc:sldMk cId="1660444777" sldId="4199"/>
            <ac:grpSpMk id="26" creationId="{4F46DC42-3185-8FC0-EDCC-B471B36C3E8B}"/>
          </ac:grpSpMkLst>
        </pc:grpChg>
        <pc:grpChg chg="add mod">
          <ac:chgData name="Ryterski Finn (HNE US-MI-PB-BO)" userId="efff052d-68b9-4e8d-b65b-45dff653056d" providerId="ADAL" clId="{4E77B3E1-3366-4E21-A4A0-00058AAC76A0}" dt="2025-04-15T12:24:35.620" v="4319"/>
          <ac:grpSpMkLst>
            <pc:docMk/>
            <pc:sldMk cId="1660444777" sldId="4199"/>
            <ac:grpSpMk id="32" creationId="{F97A26D4-F80F-221D-6EE9-8AE463FFE3A2}"/>
          </ac:grpSpMkLst>
        </pc:grpChg>
        <pc:grpChg chg="add del mod">
          <ac:chgData name="Ryterski Finn (HNE US-MI-PB-BO)" userId="efff052d-68b9-4e8d-b65b-45dff653056d" providerId="ADAL" clId="{4E77B3E1-3366-4E21-A4A0-00058AAC76A0}" dt="2025-04-15T12:26:28.227" v="4438" actId="478"/>
          <ac:grpSpMkLst>
            <pc:docMk/>
            <pc:sldMk cId="1660444777" sldId="4199"/>
            <ac:grpSpMk id="38" creationId="{2B5C8E1D-2EB8-46C4-A089-3302C0B786C0}"/>
          </ac:grpSpMkLst>
        </pc:grpChg>
        <pc:graphicFrameChg chg="add mod ord modVis">
          <ac:chgData name="Ryterski Finn (HNE US-MI-PB-BO)" userId="efff052d-68b9-4e8d-b65b-45dff653056d" providerId="ADAL" clId="{4E77B3E1-3366-4E21-A4A0-00058AAC76A0}" dt="2025-04-15T12:31:05.831" v="4627"/>
          <ac:graphicFrameMkLst>
            <pc:docMk/>
            <pc:sldMk cId="1660444777" sldId="4199"/>
            <ac:graphicFrameMk id="24" creationId="{1FB636A2-609A-04D3-2424-190CFAC709EB}"/>
          </ac:graphicFrameMkLst>
        </pc:graphicFrameChg>
        <pc:picChg chg="add del mod ord">
          <ac:chgData name="Ryterski Finn (HNE US-MI-PB-BO)" userId="efff052d-68b9-4e8d-b65b-45dff653056d" providerId="ADAL" clId="{4E77B3E1-3366-4E21-A4A0-00058AAC76A0}" dt="2025-04-15T12:31:02.995" v="4624" actId="478"/>
          <ac:picMkLst>
            <pc:docMk/>
            <pc:sldMk cId="1660444777" sldId="4199"/>
            <ac:picMk id="6" creationId="{2A099168-E70E-2830-2DCB-8CADA9127D37}"/>
          </ac:picMkLst>
        </pc:picChg>
        <pc:picChg chg="add del mod ord">
          <ac:chgData name="Ryterski Finn (HNE US-MI-PB-BO)" userId="efff052d-68b9-4e8d-b65b-45dff653056d" providerId="ADAL" clId="{4E77B3E1-3366-4E21-A4A0-00058AAC76A0}" dt="2025-04-15T12:21:25.460" v="4239" actId="478"/>
          <ac:picMkLst>
            <pc:docMk/>
            <pc:sldMk cId="1660444777" sldId="4199"/>
            <ac:picMk id="13" creationId="{3D90712A-B507-6887-A87E-EB3699565B5F}"/>
          </ac:picMkLst>
        </pc:picChg>
        <pc:picChg chg="add del mod ord">
          <ac:chgData name="Ryterski Finn (HNE US-MI-PB-BO)" userId="efff052d-68b9-4e8d-b65b-45dff653056d" providerId="ADAL" clId="{4E77B3E1-3366-4E21-A4A0-00058AAC76A0}" dt="2025-04-15T12:27:25.149" v="4502" actId="478"/>
          <ac:picMkLst>
            <pc:docMk/>
            <pc:sldMk cId="1660444777" sldId="4199"/>
            <ac:picMk id="21" creationId="{26665E09-6BFE-E9EF-6B33-ECB9708450B2}"/>
          </ac:picMkLst>
        </pc:picChg>
        <pc:picChg chg="add mod ord modCrop">
          <ac:chgData name="Ryterski Finn (HNE US-MI-PB-BO)" userId="efff052d-68b9-4e8d-b65b-45dff653056d" providerId="ADAL" clId="{4E77B3E1-3366-4E21-A4A0-00058AAC76A0}" dt="2025-04-15T12:28:25.775" v="4537" actId="14100"/>
          <ac:picMkLst>
            <pc:docMk/>
            <pc:sldMk cId="1660444777" sldId="4199"/>
            <ac:picMk id="25" creationId="{9AD52F44-A222-2C94-373A-552A99D7C366}"/>
          </ac:picMkLst>
        </pc:picChg>
      </pc:sldChg>
      <pc:sldChg chg="modSp add mod">
        <pc:chgData name="Ryterski Finn (HNE US-MI-PB-BO)" userId="efff052d-68b9-4e8d-b65b-45dff653056d" providerId="ADAL" clId="{4E77B3E1-3366-4E21-A4A0-00058AAC76A0}" dt="2025-04-15T12:29:37.980" v="4609" actId="20577"/>
        <pc:sldMkLst>
          <pc:docMk/>
          <pc:sldMk cId="111001595" sldId="4200"/>
        </pc:sldMkLst>
        <pc:spChg chg="mod">
          <ac:chgData name="Ryterski Finn (HNE US-MI-PB-BO)" userId="efff052d-68b9-4e8d-b65b-45dff653056d" providerId="ADAL" clId="{4E77B3E1-3366-4E21-A4A0-00058AAC76A0}" dt="2025-04-15T12:29:37.980" v="4609" actId="20577"/>
          <ac:spMkLst>
            <pc:docMk/>
            <pc:sldMk cId="111001595" sldId="4200"/>
            <ac:spMk id="9" creationId="{43669EF4-1A9D-2F6B-9358-C02C07B2052A}"/>
          </ac:spMkLst>
        </pc:spChg>
      </pc:sldChg>
      <pc:sldChg chg="addSp delSp modSp add mod">
        <pc:chgData name="Ryterski Finn (HNE US-MI-PB-BO)" userId="efff052d-68b9-4e8d-b65b-45dff653056d" providerId="ADAL" clId="{4E77B3E1-3366-4E21-A4A0-00058AAC76A0}" dt="2025-04-15T14:40:08.149" v="6897" actId="478"/>
        <pc:sldMkLst>
          <pc:docMk/>
          <pc:sldMk cId="435730097" sldId="4201"/>
        </pc:sldMkLst>
        <pc:spChg chg="mod">
          <ac:chgData name="Ryterski Finn (HNE US-MI-PB-BO)" userId="efff052d-68b9-4e8d-b65b-45dff653056d" providerId="ADAL" clId="{4E77B3E1-3366-4E21-A4A0-00058AAC76A0}" dt="2025-04-15T14:40:07.823" v="6896" actId="20577"/>
          <ac:spMkLst>
            <pc:docMk/>
            <pc:sldMk cId="435730097" sldId="4201"/>
            <ac:spMk id="4" creationId="{BD63797E-AC66-0DE7-F59B-B95534D906ED}"/>
          </ac:spMkLst>
        </pc:spChg>
        <pc:spChg chg="add del mod">
          <ac:chgData name="Ryterski Finn (HNE US-MI-PB-BO)" userId="efff052d-68b9-4e8d-b65b-45dff653056d" providerId="ADAL" clId="{4E77B3E1-3366-4E21-A4A0-00058AAC76A0}" dt="2025-04-15T14:40:08.149" v="6897" actId="478"/>
          <ac:spMkLst>
            <pc:docMk/>
            <pc:sldMk cId="435730097" sldId="4201"/>
            <ac:spMk id="5" creationId="{C0F93FBE-D510-B06F-4589-B7E06E4050A5}"/>
          </ac:spMkLst>
        </pc:spChg>
      </pc:sldChg>
      <pc:sldChg chg="addSp delSp modSp new del mod modClrScheme chgLayout">
        <pc:chgData name="Ryterski Finn (HNE US-MI-PB-BO)" userId="efff052d-68b9-4e8d-b65b-45dff653056d" providerId="ADAL" clId="{4E77B3E1-3366-4E21-A4A0-00058AAC76A0}" dt="2025-04-15T12:49:56.085" v="5005" actId="47"/>
        <pc:sldMkLst>
          <pc:docMk/>
          <pc:sldMk cId="1080588408" sldId="4201"/>
        </pc:sldMkLst>
        <pc:spChg chg="del mod ord">
          <ac:chgData name="Ryterski Finn (HNE US-MI-PB-BO)" userId="efff052d-68b9-4e8d-b65b-45dff653056d" providerId="ADAL" clId="{4E77B3E1-3366-4E21-A4A0-00058AAC76A0}" dt="2025-04-15T12:48:56.927" v="4973" actId="700"/>
          <ac:spMkLst>
            <pc:docMk/>
            <pc:sldMk cId="1080588408" sldId="4201"/>
            <ac:spMk id="2" creationId="{FC07A57F-C058-F010-6319-68E9F0FCF9D2}"/>
          </ac:spMkLst>
        </pc:spChg>
        <pc:spChg chg="mod ord">
          <ac:chgData name="Ryterski Finn (HNE US-MI-PB-BO)" userId="efff052d-68b9-4e8d-b65b-45dff653056d" providerId="ADAL" clId="{4E77B3E1-3366-4E21-A4A0-00058AAC76A0}" dt="2025-04-15T12:48:56.927" v="4973" actId="700"/>
          <ac:spMkLst>
            <pc:docMk/>
            <pc:sldMk cId="1080588408" sldId="4201"/>
            <ac:spMk id="3" creationId="{35C1E5C9-D3B1-13FD-C840-1F7CD9A52D0A}"/>
          </ac:spMkLst>
        </pc:spChg>
        <pc:spChg chg="mod ord">
          <ac:chgData name="Ryterski Finn (HNE US-MI-PB-BO)" userId="efff052d-68b9-4e8d-b65b-45dff653056d" providerId="ADAL" clId="{4E77B3E1-3366-4E21-A4A0-00058AAC76A0}" dt="2025-04-15T12:48:56.927" v="4973" actId="700"/>
          <ac:spMkLst>
            <pc:docMk/>
            <pc:sldMk cId="1080588408" sldId="4201"/>
            <ac:spMk id="4" creationId="{C0A66464-574C-A26E-E00E-5706E4E3756C}"/>
          </ac:spMkLst>
        </pc:spChg>
        <pc:spChg chg="del mod ord">
          <ac:chgData name="Ryterski Finn (HNE US-MI-PB-BO)" userId="efff052d-68b9-4e8d-b65b-45dff653056d" providerId="ADAL" clId="{4E77B3E1-3366-4E21-A4A0-00058AAC76A0}" dt="2025-04-15T12:48:56.927" v="4973" actId="700"/>
          <ac:spMkLst>
            <pc:docMk/>
            <pc:sldMk cId="1080588408" sldId="4201"/>
            <ac:spMk id="5" creationId="{88F1CE15-9EC4-68D6-CD72-AC755C705788}"/>
          </ac:spMkLst>
        </pc:spChg>
        <pc:spChg chg="add del mod ord">
          <ac:chgData name="Ryterski Finn (HNE US-MI-PB-BO)" userId="efff052d-68b9-4e8d-b65b-45dff653056d" providerId="ADAL" clId="{4E77B3E1-3366-4E21-A4A0-00058AAC76A0}" dt="2025-04-15T12:49:18.277" v="4989" actId="478"/>
          <ac:spMkLst>
            <pc:docMk/>
            <pc:sldMk cId="1080588408" sldId="4201"/>
            <ac:spMk id="6" creationId="{69A3CAF4-ECFD-DA95-19CC-8BA8883B06AE}"/>
          </ac:spMkLst>
        </pc:spChg>
        <pc:spChg chg="add del mod ord">
          <ac:chgData name="Ryterski Finn (HNE US-MI-PB-BO)" userId="efff052d-68b9-4e8d-b65b-45dff653056d" providerId="ADAL" clId="{4E77B3E1-3366-4E21-A4A0-00058AAC76A0}" dt="2025-04-15T12:49:52.948" v="5004" actId="478"/>
          <ac:spMkLst>
            <pc:docMk/>
            <pc:sldMk cId="1080588408" sldId="4201"/>
            <ac:spMk id="7" creationId="{384F93DB-0427-830A-B8B2-FE98E1ABF274}"/>
          </ac:spMkLst>
        </pc:spChg>
        <pc:spChg chg="add del mod ord">
          <ac:chgData name="Ryterski Finn (HNE US-MI-PB-BO)" userId="efff052d-68b9-4e8d-b65b-45dff653056d" providerId="ADAL" clId="{4E77B3E1-3366-4E21-A4A0-00058AAC76A0}" dt="2025-04-15T12:49:52.398" v="5003" actId="478"/>
          <ac:spMkLst>
            <pc:docMk/>
            <pc:sldMk cId="1080588408" sldId="4201"/>
            <ac:spMk id="8" creationId="{096155DC-8CD2-396F-6FAF-1DD1C4E587CC}"/>
          </ac:spMkLst>
        </pc:spChg>
        <pc:spChg chg="add mod ord">
          <ac:chgData name="Ryterski Finn (HNE US-MI-PB-BO)" userId="efff052d-68b9-4e8d-b65b-45dff653056d" providerId="ADAL" clId="{4E77B3E1-3366-4E21-A4A0-00058AAC76A0}" dt="2025-04-15T12:49:35.524" v="4999" actId="1076"/>
          <ac:spMkLst>
            <pc:docMk/>
            <pc:sldMk cId="1080588408" sldId="4201"/>
            <ac:spMk id="9" creationId="{0C1A31E9-3AC2-AE78-6FD3-EEFBCBB6F7F3}"/>
          </ac:spMkLst>
        </pc:spChg>
        <pc:spChg chg="add mod">
          <ac:chgData name="Ryterski Finn (HNE US-MI-PB-BO)" userId="efff052d-68b9-4e8d-b65b-45dff653056d" providerId="ADAL" clId="{4E77B3E1-3366-4E21-A4A0-00058AAC76A0}" dt="2025-04-15T12:49:49.037" v="5001" actId="14100"/>
          <ac:spMkLst>
            <pc:docMk/>
            <pc:sldMk cId="1080588408" sldId="4201"/>
            <ac:spMk id="11" creationId="{344E216D-14C7-1E2F-5352-FFF7A4B86C33}"/>
          </ac:spMkLst>
        </pc:spChg>
        <pc:spChg chg="add 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12" creationId="{E2A08D20-7328-ECC9-CFBB-DBF89722EC0D}"/>
          </ac:spMkLst>
        </pc:spChg>
        <pc:spChg chg="add 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13" creationId="{BE7E7574-512E-AFDC-30FF-5A26289FA4F5}"/>
          </ac:spMkLst>
        </pc:spChg>
        <pc:spChg chg="add 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14" creationId="{6657E9B8-B262-3DBA-C41D-184ABC226067}"/>
          </ac:spMkLst>
        </pc:spChg>
        <pc:spChg chg="add 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15" creationId="{7AF91EEA-67D3-F150-79D2-03278FCC196E}"/>
          </ac:spMkLst>
        </pc:spChg>
        <pc:spChg chg="add 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16" creationId="{7AABF063-6C30-4CC3-FBBD-3F56F6496A74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22" creationId="{3F64D72C-F66D-E460-C966-003ED4430A2D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23" creationId="{EA60E07F-BD9B-B217-11A4-EC82C208235F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24" creationId="{51BEA6D4-205C-99E5-5DA2-2D7E0D9E9DC4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25" creationId="{86B22E4C-057B-46ED-ABFF-7A49BBF5975C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26" creationId="{4E1D7BEA-260E-6052-93E8-733DF3041E2D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27" creationId="{607B4BD4-9AD5-27F4-F425-0A710A1BD677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28" creationId="{111211E9-C3D0-4DF7-5926-3AB7B6D8A7B5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29" creationId="{89C1A287-CB42-417F-4212-323E9B253F6F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30" creationId="{3F6FE8F0-2751-7B3E-A158-3C675AC499E9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31" creationId="{2FD0E415-A311-7003-A9C9-88206650D062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32" creationId="{54A7D325-A83A-9287-FD9A-EE52A70A19DA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34" creationId="{F17A9E64-D592-C10B-95BF-4FE347326F6C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35" creationId="{34D98FC9-5014-0318-0A7C-FC1F6D2C7CAD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36" creationId="{74EA49FD-079D-896D-6794-9F634E762E60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37" creationId="{B89AAD8C-7330-6A57-0397-E10C5EFC216A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38" creationId="{E1C1939D-D1C9-3F4B-A6EB-F6C1C543AC81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39" creationId="{9755BA6E-2D3E-1493-908E-68558D1125B2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40" creationId="{094E87A3-2938-B944-F96C-260B35854B50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41" creationId="{7FC56677-B01E-AED3-9B0E-6F04378C849E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42" creationId="{556C3234-12C3-1641-0F64-59300BBA188C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43" creationId="{F713D443-0F25-0F6A-93C7-15A5ED0BB6A6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44" creationId="{01EBC45C-A6BE-BC85-AD36-9838CC7215C6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45" creationId="{37584FB6-602E-076A-B83F-39552FB49CBF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46" creationId="{5258C5E3-27D6-5BEA-67FB-25C2C6C81671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47" creationId="{59A38E27-C349-398A-7A45-AAADD76F7800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48" creationId="{B73AF5AE-3B50-16C0-0705-E6CAA6B7D91F}"/>
          </ac:spMkLst>
        </pc:spChg>
        <pc:spChg chg="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49" creationId="{5129C2C4-057E-4332-300B-421A1389441C}"/>
          </ac:spMkLst>
        </pc:spChg>
        <pc:spChg chg="add 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50" creationId="{CFE5EAD4-6360-4E08-DA41-94A6B302A26F}"/>
          </ac:spMkLst>
        </pc:spChg>
        <pc:spChg chg="add mod">
          <ac:chgData name="Ryterski Finn (HNE US-MI-PB-BO)" userId="efff052d-68b9-4e8d-b65b-45dff653056d" providerId="ADAL" clId="{4E77B3E1-3366-4E21-A4A0-00058AAC76A0}" dt="2025-04-15T12:49:51.990" v="5002" actId="1076"/>
          <ac:spMkLst>
            <pc:docMk/>
            <pc:sldMk cId="1080588408" sldId="4201"/>
            <ac:spMk id="51" creationId="{FDC4369E-733B-7027-8A4D-E301EF39C22E}"/>
          </ac:spMkLst>
        </pc:spChg>
        <pc:spChg chg="add 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52" creationId="{9F3CCB7F-4C53-C06C-9EAB-5DA431BD1E23}"/>
          </ac:spMkLst>
        </pc:spChg>
        <pc:spChg chg="add 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53" creationId="{1BAA955D-AC96-1293-604F-719C22B23C5A}"/>
          </ac:spMkLst>
        </pc:spChg>
        <pc:spChg chg="add 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54" creationId="{60C51CF4-CB0E-A25B-746D-FBBF5EF0A508}"/>
          </ac:spMkLst>
        </pc:spChg>
        <pc:spChg chg="add 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55" creationId="{BD8352DA-A21A-2E8F-8D64-94D99D3788B3}"/>
          </ac:spMkLst>
        </pc:spChg>
        <pc:spChg chg="add 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56" creationId="{B4DFDD7D-93B5-DACC-514D-FA4691F006A0}"/>
          </ac:spMkLst>
        </pc:spChg>
        <pc:spChg chg="add 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57" creationId="{A548B44F-ABCD-3336-E17F-711FBC91323E}"/>
          </ac:spMkLst>
        </pc:spChg>
        <pc:spChg chg="add 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58" creationId="{58ADBD95-2BA3-140D-B82F-BEDDEDB7B0A9}"/>
          </ac:spMkLst>
        </pc:spChg>
        <pc:spChg chg="add 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59" creationId="{DDA7DD15-8F68-9401-A655-A47976A13634}"/>
          </ac:spMkLst>
        </pc:spChg>
        <pc:spChg chg="add 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60" creationId="{F2680612-462C-5D92-5986-5E034921F033}"/>
          </ac:spMkLst>
        </pc:spChg>
        <pc:spChg chg="add 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61" creationId="{9A7F380B-F198-2AA6-E2D5-B25D67953921}"/>
          </ac:spMkLst>
        </pc:spChg>
        <pc:spChg chg="add 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63" creationId="{53E151AE-38A6-07DE-19F5-2827D07DFDDE}"/>
          </ac:spMkLst>
        </pc:spChg>
        <pc:spChg chg="add mod">
          <ac:chgData name="Ryterski Finn (HNE US-MI-PB-BO)" userId="efff052d-68b9-4e8d-b65b-45dff653056d" providerId="ADAL" clId="{4E77B3E1-3366-4E21-A4A0-00058AAC76A0}" dt="2025-04-15T12:49:03.260" v="4988"/>
          <ac:spMkLst>
            <pc:docMk/>
            <pc:sldMk cId="1080588408" sldId="4201"/>
            <ac:spMk id="64" creationId="{14A4B9FF-5AC7-B73D-F51B-4C0CD5E3FED4}"/>
          </ac:spMkLst>
        </pc:spChg>
        <pc:spChg chg="add mod">
          <ac:chgData name="Ryterski Finn (HNE US-MI-PB-BO)" userId="efff052d-68b9-4e8d-b65b-45dff653056d" providerId="ADAL" clId="{4E77B3E1-3366-4E21-A4A0-00058AAC76A0}" dt="2025-04-15T12:49:18.785" v="4991" actId="948"/>
          <ac:spMkLst>
            <pc:docMk/>
            <pc:sldMk cId="1080588408" sldId="4201"/>
            <ac:spMk id="66" creationId="{59501C7F-58FF-10FF-BA00-F39120BED1FC}"/>
          </ac:spMkLst>
        </pc:spChg>
        <pc:grpChg chg="add mod">
          <ac:chgData name="Ryterski Finn (HNE US-MI-PB-BO)" userId="efff052d-68b9-4e8d-b65b-45dff653056d" providerId="ADAL" clId="{4E77B3E1-3366-4E21-A4A0-00058AAC76A0}" dt="2025-04-15T12:49:03.260" v="4988"/>
          <ac:grpSpMkLst>
            <pc:docMk/>
            <pc:sldMk cId="1080588408" sldId="4201"/>
            <ac:grpSpMk id="18" creationId="{1107DF91-610D-7EA6-7A19-5BF813984264}"/>
          </ac:grpSpMkLst>
        </pc:grpChg>
        <pc:grpChg chg="mod">
          <ac:chgData name="Ryterski Finn (HNE US-MI-PB-BO)" userId="efff052d-68b9-4e8d-b65b-45dff653056d" providerId="ADAL" clId="{4E77B3E1-3366-4E21-A4A0-00058AAC76A0}" dt="2025-04-15T12:49:03.260" v="4988"/>
          <ac:grpSpMkLst>
            <pc:docMk/>
            <pc:sldMk cId="1080588408" sldId="4201"/>
            <ac:grpSpMk id="19" creationId="{742F3004-1D86-DFB4-2CDF-E9344ACDC723}"/>
          </ac:grpSpMkLst>
        </pc:grpChg>
        <pc:grpChg chg="mod">
          <ac:chgData name="Ryterski Finn (HNE US-MI-PB-BO)" userId="efff052d-68b9-4e8d-b65b-45dff653056d" providerId="ADAL" clId="{4E77B3E1-3366-4E21-A4A0-00058AAC76A0}" dt="2025-04-15T12:49:03.260" v="4988"/>
          <ac:grpSpMkLst>
            <pc:docMk/>
            <pc:sldMk cId="1080588408" sldId="4201"/>
            <ac:grpSpMk id="20" creationId="{7C7CB4DC-CF72-EC46-1247-A30470BF3327}"/>
          </ac:grpSpMkLst>
        </pc:grpChg>
        <pc:grpChg chg="mod">
          <ac:chgData name="Ryterski Finn (HNE US-MI-PB-BO)" userId="efff052d-68b9-4e8d-b65b-45dff653056d" providerId="ADAL" clId="{4E77B3E1-3366-4E21-A4A0-00058AAC76A0}" dt="2025-04-15T12:49:03.260" v="4988"/>
          <ac:grpSpMkLst>
            <pc:docMk/>
            <pc:sldMk cId="1080588408" sldId="4201"/>
            <ac:grpSpMk id="21" creationId="{D14EEFDE-A8B5-0984-3E98-9FBE0FB67BB0}"/>
          </ac:grpSpMkLst>
        </pc:grpChg>
        <pc:graphicFrameChg chg="add mod ord modVis">
          <ac:chgData name="Ryterski Finn (HNE US-MI-PB-BO)" userId="efff052d-68b9-4e8d-b65b-45dff653056d" providerId="ADAL" clId="{4E77B3E1-3366-4E21-A4A0-00058AAC76A0}" dt="2025-04-15T12:49:18.798" v="4993"/>
          <ac:graphicFrameMkLst>
            <pc:docMk/>
            <pc:sldMk cId="1080588408" sldId="4201"/>
            <ac:graphicFrameMk id="10" creationId="{E25B20DF-172A-1060-24C6-EFE17CD5CDE6}"/>
          </ac:graphicFrameMkLst>
        </pc:graphicFrameChg>
        <pc:picChg chg="add mod">
          <ac:chgData name="Ryterski Finn (HNE US-MI-PB-BO)" userId="efff052d-68b9-4e8d-b65b-45dff653056d" providerId="ADAL" clId="{4E77B3E1-3366-4E21-A4A0-00058AAC76A0}" dt="2025-04-15T12:49:03.260" v="4988"/>
          <ac:picMkLst>
            <pc:docMk/>
            <pc:sldMk cId="1080588408" sldId="4201"/>
            <ac:picMk id="17" creationId="{73887F20-4FEC-D357-115A-4F47957110D5}"/>
          </ac:picMkLst>
        </pc:picChg>
        <pc:picChg chg="mod">
          <ac:chgData name="Ryterski Finn (HNE US-MI-PB-BO)" userId="efff052d-68b9-4e8d-b65b-45dff653056d" providerId="ADAL" clId="{4E77B3E1-3366-4E21-A4A0-00058AAC76A0}" dt="2025-04-15T12:49:03.260" v="4988"/>
          <ac:picMkLst>
            <pc:docMk/>
            <pc:sldMk cId="1080588408" sldId="4201"/>
            <ac:picMk id="33" creationId="{4D130BCB-419C-74E5-DD71-D0EC3FE99813}"/>
          </ac:picMkLst>
        </pc:picChg>
        <pc:picChg chg="add mod">
          <ac:chgData name="Ryterski Finn (HNE US-MI-PB-BO)" userId="efff052d-68b9-4e8d-b65b-45dff653056d" providerId="ADAL" clId="{4E77B3E1-3366-4E21-A4A0-00058AAC76A0}" dt="2025-04-15T12:49:03.260" v="4988"/>
          <ac:picMkLst>
            <pc:docMk/>
            <pc:sldMk cId="1080588408" sldId="4201"/>
            <ac:picMk id="62" creationId="{392CAB73-2F89-ACE6-E4E0-9F73D90891D9}"/>
          </ac:picMkLst>
        </pc:picChg>
        <pc:picChg chg="add mod">
          <ac:chgData name="Ryterski Finn (HNE US-MI-PB-BO)" userId="efff052d-68b9-4e8d-b65b-45dff653056d" providerId="ADAL" clId="{4E77B3E1-3366-4E21-A4A0-00058AAC76A0}" dt="2025-04-15T12:49:03.260" v="4988"/>
          <ac:picMkLst>
            <pc:docMk/>
            <pc:sldMk cId="1080588408" sldId="4201"/>
            <ac:picMk id="65" creationId="{32623C46-FA3A-FEED-3F07-E80D0E6C70E9}"/>
          </ac:picMkLst>
        </pc:picChg>
      </pc:sldChg>
      <pc:sldChg chg="addSp delSp modSp new del mod modClrScheme chgLayout">
        <pc:chgData name="Ryterski Finn (HNE US-MI-PB-BO)" userId="efff052d-68b9-4e8d-b65b-45dff653056d" providerId="ADAL" clId="{4E77B3E1-3366-4E21-A4A0-00058AAC76A0}" dt="2025-04-15T12:44:07.123" v="4931" actId="680"/>
        <pc:sldMkLst>
          <pc:docMk/>
          <pc:sldMk cId="1278094775" sldId="4201"/>
        </pc:sldMkLst>
        <pc:spChg chg="add del mod ord">
          <ac:chgData name="Ryterski Finn (HNE US-MI-PB-BO)" userId="efff052d-68b9-4e8d-b65b-45dff653056d" providerId="ADAL" clId="{4E77B3E1-3366-4E21-A4A0-00058AAC76A0}" dt="2025-04-15T12:44:05.493" v="4909" actId="700"/>
          <ac:spMkLst>
            <pc:docMk/>
            <pc:sldMk cId="1278094775" sldId="4201"/>
            <ac:spMk id="2" creationId="{C64D639B-2D8B-8C1B-76C8-338420F000F7}"/>
          </ac:spMkLst>
        </pc:spChg>
        <pc:spChg chg="mod ord">
          <ac:chgData name="Ryterski Finn (HNE US-MI-PB-BO)" userId="efff052d-68b9-4e8d-b65b-45dff653056d" providerId="ADAL" clId="{4E77B3E1-3366-4E21-A4A0-00058AAC76A0}" dt="2025-04-15T12:44:05.493" v="4909" actId="700"/>
          <ac:spMkLst>
            <pc:docMk/>
            <pc:sldMk cId="1278094775" sldId="4201"/>
            <ac:spMk id="3" creationId="{3BCB7AB9-0C6D-9D4B-FD3E-0F99F776D62D}"/>
          </ac:spMkLst>
        </pc:spChg>
        <pc:spChg chg="mod ord">
          <ac:chgData name="Ryterski Finn (HNE US-MI-PB-BO)" userId="efff052d-68b9-4e8d-b65b-45dff653056d" providerId="ADAL" clId="{4E77B3E1-3366-4E21-A4A0-00058AAC76A0}" dt="2025-04-15T12:44:05.493" v="4909" actId="700"/>
          <ac:spMkLst>
            <pc:docMk/>
            <pc:sldMk cId="1278094775" sldId="4201"/>
            <ac:spMk id="4" creationId="{70B85097-1907-AFCB-4063-724B6446A1DD}"/>
          </ac:spMkLst>
        </pc:spChg>
        <pc:spChg chg="add del mod ord">
          <ac:chgData name="Ryterski Finn (HNE US-MI-PB-BO)" userId="efff052d-68b9-4e8d-b65b-45dff653056d" providerId="ADAL" clId="{4E77B3E1-3366-4E21-A4A0-00058AAC76A0}" dt="2025-04-15T12:44:05.493" v="4909" actId="700"/>
          <ac:spMkLst>
            <pc:docMk/>
            <pc:sldMk cId="1278094775" sldId="4201"/>
            <ac:spMk id="5" creationId="{E4897D28-FFC2-2457-FA0B-ED8BB46BA098}"/>
          </ac:spMkLst>
        </pc:spChg>
        <pc:spChg chg="add del mod ord">
          <ac:chgData name="Ryterski Finn (HNE US-MI-PB-BO)" userId="efff052d-68b9-4e8d-b65b-45dff653056d" providerId="ADAL" clId="{4E77B3E1-3366-4E21-A4A0-00058AAC76A0}" dt="2025-04-15T12:44:05.493" v="4909" actId="700"/>
          <ac:spMkLst>
            <pc:docMk/>
            <pc:sldMk cId="1278094775" sldId="4201"/>
            <ac:spMk id="6" creationId="{91E05678-43B0-078E-A948-781536E7FE41}"/>
          </ac:spMkLst>
        </pc:spChg>
        <pc:spChg chg="add del mod ord">
          <ac:chgData name="Ryterski Finn (HNE US-MI-PB-BO)" userId="efff052d-68b9-4e8d-b65b-45dff653056d" providerId="ADAL" clId="{4E77B3E1-3366-4E21-A4A0-00058AAC76A0}" dt="2025-04-15T12:44:05.493" v="4909" actId="700"/>
          <ac:spMkLst>
            <pc:docMk/>
            <pc:sldMk cId="1278094775" sldId="4201"/>
            <ac:spMk id="7" creationId="{CF4FA6CB-A280-46A9-C652-E5B28D4733CF}"/>
          </ac:spMkLst>
        </pc:spChg>
        <pc:spChg chg="add del mod ord">
          <ac:chgData name="Ryterski Finn (HNE US-MI-PB-BO)" userId="efff052d-68b9-4e8d-b65b-45dff653056d" providerId="ADAL" clId="{4E77B3E1-3366-4E21-A4A0-00058AAC76A0}" dt="2025-04-15T12:44:05.493" v="4909" actId="700"/>
          <ac:spMkLst>
            <pc:docMk/>
            <pc:sldMk cId="1278094775" sldId="4201"/>
            <ac:spMk id="8" creationId="{EA114A1A-E502-F8EB-D5F5-DC640EB83830}"/>
          </ac:spMkLst>
        </pc:spChg>
        <pc:spChg chg="add del mod ord">
          <ac:chgData name="Ryterski Finn (HNE US-MI-PB-BO)" userId="efff052d-68b9-4e8d-b65b-45dff653056d" providerId="ADAL" clId="{4E77B3E1-3366-4E21-A4A0-00058AAC76A0}" dt="2025-04-15T12:44:05.493" v="4909" actId="700"/>
          <ac:spMkLst>
            <pc:docMk/>
            <pc:sldMk cId="1278094775" sldId="4201"/>
            <ac:spMk id="9" creationId="{CF6CAB9E-5BBA-0852-BE65-C608E05889E2}"/>
          </ac:spMkLst>
        </pc:spChg>
        <pc:spChg chg="add del mod ord">
          <ac:chgData name="Ryterski Finn (HNE US-MI-PB-BO)" userId="efff052d-68b9-4e8d-b65b-45dff653056d" providerId="ADAL" clId="{4E77B3E1-3366-4E21-A4A0-00058AAC76A0}" dt="2025-04-15T12:44:03.772" v="4898" actId="700"/>
          <ac:spMkLst>
            <pc:docMk/>
            <pc:sldMk cId="1278094775" sldId="4201"/>
            <ac:spMk id="11" creationId="{42B02FEC-5A89-E950-C404-BE72398AAB7D}"/>
          </ac:spMkLst>
        </pc:spChg>
        <pc:spChg chg="add del mod ord">
          <ac:chgData name="Ryterski Finn (HNE US-MI-PB-BO)" userId="efff052d-68b9-4e8d-b65b-45dff653056d" providerId="ADAL" clId="{4E77B3E1-3366-4E21-A4A0-00058AAC76A0}" dt="2025-04-15T12:44:03.772" v="4898" actId="700"/>
          <ac:spMkLst>
            <pc:docMk/>
            <pc:sldMk cId="1278094775" sldId="4201"/>
            <ac:spMk id="12" creationId="{AC11C8D8-3368-5D81-E2DE-27F792A09578}"/>
          </ac:spMkLst>
        </pc:spChg>
        <pc:spChg chg="add del mod ord">
          <ac:chgData name="Ryterski Finn (HNE US-MI-PB-BO)" userId="efff052d-68b9-4e8d-b65b-45dff653056d" providerId="ADAL" clId="{4E77B3E1-3366-4E21-A4A0-00058AAC76A0}" dt="2025-04-15T12:44:03.772" v="4898" actId="700"/>
          <ac:spMkLst>
            <pc:docMk/>
            <pc:sldMk cId="1278094775" sldId="4201"/>
            <ac:spMk id="13" creationId="{1418FFD6-E9D1-0CC6-92F9-BE9BCA883BB0}"/>
          </ac:spMkLst>
        </pc:spChg>
        <pc:spChg chg="add del mod ord">
          <ac:chgData name="Ryterski Finn (HNE US-MI-PB-BO)" userId="efff052d-68b9-4e8d-b65b-45dff653056d" providerId="ADAL" clId="{4E77B3E1-3366-4E21-A4A0-00058AAC76A0}" dt="2025-04-15T12:44:03.772" v="4898" actId="700"/>
          <ac:spMkLst>
            <pc:docMk/>
            <pc:sldMk cId="1278094775" sldId="4201"/>
            <ac:spMk id="14" creationId="{17C72C08-B45F-6255-D044-4AEACA3768C0}"/>
          </ac:spMkLst>
        </pc:spChg>
        <pc:spChg chg="add del mod ord">
          <ac:chgData name="Ryterski Finn (HNE US-MI-PB-BO)" userId="efff052d-68b9-4e8d-b65b-45dff653056d" providerId="ADAL" clId="{4E77B3E1-3366-4E21-A4A0-00058AAC76A0}" dt="2025-04-15T12:44:01.598" v="4888" actId="700"/>
          <ac:spMkLst>
            <pc:docMk/>
            <pc:sldMk cId="1278094775" sldId="4201"/>
            <ac:spMk id="15" creationId="{BEDA8BF7-51CE-DB92-417B-125CFAE51465}"/>
          </ac:spMkLst>
        </pc:spChg>
        <pc:spChg chg="add del mod ord">
          <ac:chgData name="Ryterski Finn (HNE US-MI-PB-BO)" userId="efff052d-68b9-4e8d-b65b-45dff653056d" providerId="ADAL" clId="{4E77B3E1-3366-4E21-A4A0-00058AAC76A0}" dt="2025-04-15T12:44:01.598" v="4888" actId="700"/>
          <ac:spMkLst>
            <pc:docMk/>
            <pc:sldMk cId="1278094775" sldId="4201"/>
            <ac:spMk id="16" creationId="{1944BDA7-B7B0-2DE0-021D-2D05A2280D66}"/>
          </ac:spMkLst>
        </pc:spChg>
        <pc:spChg chg="add del mod ord">
          <ac:chgData name="Ryterski Finn (HNE US-MI-PB-BO)" userId="efff052d-68b9-4e8d-b65b-45dff653056d" providerId="ADAL" clId="{4E77B3E1-3366-4E21-A4A0-00058AAC76A0}" dt="2025-04-15T12:44:01.598" v="4888" actId="700"/>
          <ac:spMkLst>
            <pc:docMk/>
            <pc:sldMk cId="1278094775" sldId="4201"/>
            <ac:spMk id="17" creationId="{8CA15187-CE08-F690-AF69-264A3F6FCE58}"/>
          </ac:spMkLst>
        </pc:spChg>
        <pc:spChg chg="add del mod ord">
          <ac:chgData name="Ryterski Finn (HNE US-MI-PB-BO)" userId="efff052d-68b9-4e8d-b65b-45dff653056d" providerId="ADAL" clId="{4E77B3E1-3366-4E21-A4A0-00058AAC76A0}" dt="2025-04-15T12:44:01.598" v="4888" actId="700"/>
          <ac:spMkLst>
            <pc:docMk/>
            <pc:sldMk cId="1278094775" sldId="4201"/>
            <ac:spMk id="18" creationId="{72B78A9E-EEB6-A97E-D2B1-7F51ED7C6D4B}"/>
          </ac:spMkLst>
        </pc:spChg>
        <pc:spChg chg="add mod">
          <ac:chgData name="Ryterski Finn (HNE US-MI-PB-BO)" userId="efff052d-68b9-4e8d-b65b-45dff653056d" providerId="ADAL" clId="{4E77B3E1-3366-4E21-A4A0-00058AAC76A0}" dt="2025-04-15T12:43:49.474" v="4880"/>
          <ac:spMkLst>
            <pc:docMk/>
            <pc:sldMk cId="1278094775" sldId="4201"/>
            <ac:spMk id="19" creationId="{238F4BE0-3266-F7B8-2696-6AF07215FE6D}"/>
          </ac:spMkLst>
        </pc:spChg>
        <pc:spChg chg="add mod">
          <ac:chgData name="Ryterski Finn (HNE US-MI-PB-BO)" userId="efff052d-68b9-4e8d-b65b-45dff653056d" providerId="ADAL" clId="{4E77B3E1-3366-4E21-A4A0-00058AAC76A0}" dt="2025-04-15T12:43:49.474" v="4880"/>
          <ac:spMkLst>
            <pc:docMk/>
            <pc:sldMk cId="1278094775" sldId="4201"/>
            <ac:spMk id="20" creationId="{8860A265-A263-F7D8-FD29-701EEFC5CC9B}"/>
          </ac:spMkLst>
        </pc:spChg>
        <pc:spChg chg="add mod">
          <ac:chgData name="Ryterski Finn (HNE US-MI-PB-BO)" userId="efff052d-68b9-4e8d-b65b-45dff653056d" providerId="ADAL" clId="{4E77B3E1-3366-4E21-A4A0-00058AAC76A0}" dt="2025-04-15T12:43:49.474" v="4880"/>
          <ac:spMkLst>
            <pc:docMk/>
            <pc:sldMk cId="1278094775" sldId="4201"/>
            <ac:spMk id="21" creationId="{1E0A4B79-BC7A-7EBC-9BAF-85A61D2EF5C8}"/>
          </ac:spMkLst>
        </pc:spChg>
        <pc:spChg chg="add mod">
          <ac:chgData name="Ryterski Finn (HNE US-MI-PB-BO)" userId="efff052d-68b9-4e8d-b65b-45dff653056d" providerId="ADAL" clId="{4E77B3E1-3366-4E21-A4A0-00058AAC76A0}" dt="2025-04-15T12:43:49.474" v="4880"/>
          <ac:spMkLst>
            <pc:docMk/>
            <pc:sldMk cId="1278094775" sldId="4201"/>
            <ac:spMk id="22" creationId="{D128D673-3EA5-4FE5-D14E-BB17A41C448E}"/>
          </ac:spMkLst>
        </pc:spChg>
        <pc:spChg chg="add mod">
          <ac:chgData name="Ryterski Finn (HNE US-MI-PB-BO)" userId="efff052d-68b9-4e8d-b65b-45dff653056d" providerId="ADAL" clId="{4E77B3E1-3366-4E21-A4A0-00058AAC76A0}" dt="2025-04-15T12:43:49.474" v="4880"/>
          <ac:spMkLst>
            <pc:docMk/>
            <pc:sldMk cId="1278094775" sldId="4201"/>
            <ac:spMk id="24" creationId="{3DF8B480-BB13-AF5E-8BBD-3339F498BFCA}"/>
          </ac:spMkLst>
        </pc:spChg>
        <pc:spChg chg="add mod">
          <ac:chgData name="Ryterski Finn (HNE US-MI-PB-BO)" userId="efff052d-68b9-4e8d-b65b-45dff653056d" providerId="ADAL" clId="{4E77B3E1-3366-4E21-A4A0-00058AAC76A0}" dt="2025-04-15T12:43:49.474" v="4880"/>
          <ac:spMkLst>
            <pc:docMk/>
            <pc:sldMk cId="1278094775" sldId="4201"/>
            <ac:spMk id="25" creationId="{82D15553-B836-4E89-7E8F-8D2C9B17FCF4}"/>
          </ac:spMkLst>
        </pc:spChg>
        <pc:spChg chg="add mod">
          <ac:chgData name="Ryterski Finn (HNE US-MI-PB-BO)" userId="efff052d-68b9-4e8d-b65b-45dff653056d" providerId="ADAL" clId="{4E77B3E1-3366-4E21-A4A0-00058AAC76A0}" dt="2025-04-15T12:43:49.474" v="4880"/>
          <ac:spMkLst>
            <pc:docMk/>
            <pc:sldMk cId="1278094775" sldId="4201"/>
            <ac:spMk id="26" creationId="{DF7B39EB-B13E-4540-791B-527DC681ABCF}"/>
          </ac:spMkLst>
        </pc:spChg>
        <pc:spChg chg="add mod">
          <ac:chgData name="Ryterski Finn (HNE US-MI-PB-BO)" userId="efff052d-68b9-4e8d-b65b-45dff653056d" providerId="ADAL" clId="{4E77B3E1-3366-4E21-A4A0-00058AAC76A0}" dt="2025-04-15T12:43:49.474" v="4880"/>
          <ac:spMkLst>
            <pc:docMk/>
            <pc:sldMk cId="1278094775" sldId="4201"/>
            <ac:spMk id="27" creationId="{8BB88037-9062-860D-FA47-955B630A8131}"/>
          </ac:spMkLst>
        </pc:spChg>
        <pc:spChg chg="add mod">
          <ac:chgData name="Ryterski Finn (HNE US-MI-PB-BO)" userId="efff052d-68b9-4e8d-b65b-45dff653056d" providerId="ADAL" clId="{4E77B3E1-3366-4E21-A4A0-00058AAC76A0}" dt="2025-04-15T12:43:49.474" v="4880"/>
          <ac:spMkLst>
            <pc:docMk/>
            <pc:sldMk cId="1278094775" sldId="4201"/>
            <ac:spMk id="28" creationId="{9C8D21C5-C0A4-637B-75B4-C9860E171794}"/>
          </ac:spMkLst>
        </pc:spChg>
        <pc:spChg chg="add mod">
          <ac:chgData name="Ryterski Finn (HNE US-MI-PB-BO)" userId="efff052d-68b9-4e8d-b65b-45dff653056d" providerId="ADAL" clId="{4E77B3E1-3366-4E21-A4A0-00058AAC76A0}" dt="2025-04-15T12:43:49.474" v="4880"/>
          <ac:spMkLst>
            <pc:docMk/>
            <pc:sldMk cId="1278094775" sldId="4201"/>
            <ac:spMk id="29" creationId="{E2CF9454-DA1C-DB81-1E90-5B4DE6CB9643}"/>
          </ac:spMkLst>
        </pc:spChg>
        <pc:spChg chg="add mod">
          <ac:chgData name="Ryterski Finn (HNE US-MI-PB-BO)" userId="efff052d-68b9-4e8d-b65b-45dff653056d" providerId="ADAL" clId="{4E77B3E1-3366-4E21-A4A0-00058AAC76A0}" dt="2025-04-15T12:43:49.474" v="4880"/>
          <ac:spMkLst>
            <pc:docMk/>
            <pc:sldMk cId="1278094775" sldId="4201"/>
            <ac:spMk id="30" creationId="{E45843D8-89D8-7135-D9E7-A760447B125A}"/>
          </ac:spMkLst>
        </pc:spChg>
        <pc:spChg chg="add mod">
          <ac:chgData name="Ryterski Finn (HNE US-MI-PB-BO)" userId="efff052d-68b9-4e8d-b65b-45dff653056d" providerId="ADAL" clId="{4E77B3E1-3366-4E21-A4A0-00058AAC76A0}" dt="2025-04-15T12:43:49.474" v="4880"/>
          <ac:spMkLst>
            <pc:docMk/>
            <pc:sldMk cId="1278094775" sldId="4201"/>
            <ac:spMk id="31" creationId="{E7BA6489-1C2A-673B-3F93-63F3DAB3185D}"/>
          </ac:spMkLst>
        </pc:spChg>
        <pc:spChg chg="add mod">
          <ac:chgData name="Ryterski Finn (HNE US-MI-PB-BO)" userId="efff052d-68b9-4e8d-b65b-45dff653056d" providerId="ADAL" clId="{4E77B3E1-3366-4E21-A4A0-00058AAC76A0}" dt="2025-04-15T12:43:49.474" v="4880"/>
          <ac:spMkLst>
            <pc:docMk/>
            <pc:sldMk cId="1278094775" sldId="4201"/>
            <ac:spMk id="32" creationId="{EC048CD9-B3AA-96A5-1CC7-A195FCBFE291}"/>
          </ac:spMkLst>
        </pc:spChg>
        <pc:spChg chg="add mod">
          <ac:chgData name="Ryterski Finn (HNE US-MI-PB-BO)" userId="efff052d-68b9-4e8d-b65b-45dff653056d" providerId="ADAL" clId="{4E77B3E1-3366-4E21-A4A0-00058AAC76A0}" dt="2025-04-15T12:43:49.474" v="4880"/>
          <ac:spMkLst>
            <pc:docMk/>
            <pc:sldMk cId="1278094775" sldId="4201"/>
            <ac:spMk id="33" creationId="{BCD2EB36-F707-EB86-E33F-BEB44591F04A}"/>
          </ac:spMkLst>
        </pc:spChg>
        <pc:spChg chg="add mod">
          <ac:chgData name="Ryterski Finn (HNE US-MI-PB-BO)" userId="efff052d-68b9-4e8d-b65b-45dff653056d" providerId="ADAL" clId="{4E77B3E1-3366-4E21-A4A0-00058AAC76A0}" dt="2025-04-15T12:43:49.474" v="4880"/>
          <ac:spMkLst>
            <pc:docMk/>
            <pc:sldMk cId="1278094775" sldId="4201"/>
            <ac:spMk id="34" creationId="{19153F7E-516F-F9E2-49EC-5A0B1FA72F83}"/>
          </ac:spMkLst>
        </pc:spChg>
        <pc:spChg chg="add mod">
          <ac:chgData name="Ryterski Finn (HNE US-MI-PB-BO)" userId="efff052d-68b9-4e8d-b65b-45dff653056d" providerId="ADAL" clId="{4E77B3E1-3366-4E21-A4A0-00058AAC76A0}" dt="2025-04-15T12:43:49.474" v="4880"/>
          <ac:spMkLst>
            <pc:docMk/>
            <pc:sldMk cId="1278094775" sldId="4201"/>
            <ac:spMk id="36" creationId="{5A12E21C-A6B7-52AF-F625-4B21746FF0C5}"/>
          </ac:spMkLst>
        </pc:spChg>
        <pc:spChg chg="add mod">
          <ac:chgData name="Ryterski Finn (HNE US-MI-PB-BO)" userId="efff052d-68b9-4e8d-b65b-45dff653056d" providerId="ADAL" clId="{4E77B3E1-3366-4E21-A4A0-00058AAC76A0}" dt="2025-04-15T12:43:49.474" v="4880"/>
          <ac:spMkLst>
            <pc:docMk/>
            <pc:sldMk cId="1278094775" sldId="4201"/>
            <ac:spMk id="37" creationId="{6A63AB57-D16D-F119-5B35-F867FAC6C9B6}"/>
          </ac:spMkLst>
        </pc:spChg>
        <pc:spChg chg="add mod">
          <ac:chgData name="Ryterski Finn (HNE US-MI-PB-BO)" userId="efff052d-68b9-4e8d-b65b-45dff653056d" providerId="ADAL" clId="{4E77B3E1-3366-4E21-A4A0-00058AAC76A0}" dt="2025-04-15T12:43:54.560" v="4881"/>
          <ac:spMkLst>
            <pc:docMk/>
            <pc:sldMk cId="1278094775" sldId="4201"/>
            <ac:spMk id="39" creationId="{C148ECCF-93E7-0F13-3EC4-7CE5D86A495C}"/>
          </ac:spMkLst>
        </pc:spChg>
        <pc:graphicFrameChg chg="add mod ord modVis">
          <ac:chgData name="Ryterski Finn (HNE US-MI-PB-BO)" userId="efff052d-68b9-4e8d-b65b-45dff653056d" providerId="ADAL" clId="{4E77B3E1-3366-4E21-A4A0-00058AAC76A0}" dt="2025-04-15T12:44:04.917" v="4908"/>
          <ac:graphicFrameMkLst>
            <pc:docMk/>
            <pc:sldMk cId="1278094775" sldId="4201"/>
            <ac:graphicFrameMk id="10" creationId="{01524BB4-7754-B472-4442-370153BC1848}"/>
          </ac:graphicFrameMkLst>
        </pc:graphicFrameChg>
        <pc:graphicFrameChg chg="add mod ord modVis">
          <ac:chgData name="Ryterski Finn (HNE US-MI-PB-BO)" userId="efff052d-68b9-4e8d-b65b-45dff653056d" providerId="ADAL" clId="{4E77B3E1-3366-4E21-A4A0-00058AAC76A0}" dt="2025-04-15T12:44:06.104" v="4930"/>
          <ac:graphicFrameMkLst>
            <pc:docMk/>
            <pc:sldMk cId="1278094775" sldId="4201"/>
            <ac:graphicFrameMk id="40" creationId="{020FFECD-3F23-3F9C-8594-83A49CD71AB8}"/>
          </ac:graphicFrameMkLst>
        </pc:graphicFrameChg>
        <pc:picChg chg="add mod">
          <ac:chgData name="Ryterski Finn (HNE US-MI-PB-BO)" userId="efff052d-68b9-4e8d-b65b-45dff653056d" providerId="ADAL" clId="{4E77B3E1-3366-4E21-A4A0-00058AAC76A0}" dt="2025-04-15T12:43:49.474" v="4880"/>
          <ac:picMkLst>
            <pc:docMk/>
            <pc:sldMk cId="1278094775" sldId="4201"/>
            <ac:picMk id="23" creationId="{A2A29523-3E67-F568-C42D-B416FB67EEDA}"/>
          </ac:picMkLst>
        </pc:picChg>
        <pc:picChg chg="add mod">
          <ac:chgData name="Ryterski Finn (HNE US-MI-PB-BO)" userId="efff052d-68b9-4e8d-b65b-45dff653056d" providerId="ADAL" clId="{4E77B3E1-3366-4E21-A4A0-00058AAC76A0}" dt="2025-04-15T12:43:49.474" v="4880"/>
          <ac:picMkLst>
            <pc:docMk/>
            <pc:sldMk cId="1278094775" sldId="4201"/>
            <ac:picMk id="35" creationId="{2E8D062F-6FFC-706C-F1D2-457B579FA6CB}"/>
          </ac:picMkLst>
        </pc:picChg>
        <pc:picChg chg="add mod">
          <ac:chgData name="Ryterski Finn (HNE US-MI-PB-BO)" userId="efff052d-68b9-4e8d-b65b-45dff653056d" providerId="ADAL" clId="{4E77B3E1-3366-4E21-A4A0-00058AAC76A0}" dt="2025-04-15T12:43:49.474" v="4880"/>
          <ac:picMkLst>
            <pc:docMk/>
            <pc:sldMk cId="1278094775" sldId="4201"/>
            <ac:picMk id="38" creationId="{4983699F-CA5D-D597-4F02-0254BB173F62}"/>
          </ac:picMkLst>
        </pc:picChg>
      </pc:sldChg>
      <pc:sldChg chg="addSp delSp modSp new del mod modClrScheme chgLayout">
        <pc:chgData name="Ryterski Finn (HNE US-MI-PB-BO)" userId="efff052d-68b9-4e8d-b65b-45dff653056d" providerId="ADAL" clId="{4E77B3E1-3366-4E21-A4A0-00058AAC76A0}" dt="2025-04-15T12:47:21.174" v="4961" actId="47"/>
        <pc:sldMkLst>
          <pc:docMk/>
          <pc:sldMk cId="2014594663" sldId="4201"/>
        </pc:sldMkLst>
        <pc:spChg chg="del mod ord">
          <ac:chgData name="Ryterski Finn (HNE US-MI-PB-BO)" userId="efff052d-68b9-4e8d-b65b-45dff653056d" providerId="ADAL" clId="{4E77B3E1-3366-4E21-A4A0-00058AAC76A0}" dt="2025-04-15T12:44:19.878" v="4933" actId="700"/>
          <ac:spMkLst>
            <pc:docMk/>
            <pc:sldMk cId="2014594663" sldId="4201"/>
            <ac:spMk id="2" creationId="{01B0098A-8290-B5F6-4696-B8C3D6393B1D}"/>
          </ac:spMkLst>
        </pc:spChg>
        <pc:spChg chg="mod ord">
          <ac:chgData name="Ryterski Finn (HNE US-MI-PB-BO)" userId="efff052d-68b9-4e8d-b65b-45dff653056d" providerId="ADAL" clId="{4E77B3E1-3366-4E21-A4A0-00058AAC76A0}" dt="2025-04-15T12:44:19.878" v="4933" actId="700"/>
          <ac:spMkLst>
            <pc:docMk/>
            <pc:sldMk cId="2014594663" sldId="4201"/>
            <ac:spMk id="3" creationId="{AB1E89C0-1E8C-85E9-A78B-51ED7625B3B1}"/>
          </ac:spMkLst>
        </pc:spChg>
        <pc:spChg chg="mod ord">
          <ac:chgData name="Ryterski Finn (HNE US-MI-PB-BO)" userId="efff052d-68b9-4e8d-b65b-45dff653056d" providerId="ADAL" clId="{4E77B3E1-3366-4E21-A4A0-00058AAC76A0}" dt="2025-04-15T12:44:19.878" v="4933" actId="700"/>
          <ac:spMkLst>
            <pc:docMk/>
            <pc:sldMk cId="2014594663" sldId="4201"/>
            <ac:spMk id="4" creationId="{651558E7-52F5-40CC-7279-0B38D46353EE}"/>
          </ac:spMkLst>
        </pc:spChg>
        <pc:spChg chg="del mod ord">
          <ac:chgData name="Ryterski Finn (HNE US-MI-PB-BO)" userId="efff052d-68b9-4e8d-b65b-45dff653056d" providerId="ADAL" clId="{4E77B3E1-3366-4E21-A4A0-00058AAC76A0}" dt="2025-04-15T12:44:19.878" v="4933" actId="700"/>
          <ac:spMkLst>
            <pc:docMk/>
            <pc:sldMk cId="2014594663" sldId="4201"/>
            <ac:spMk id="5" creationId="{90772343-DF91-E8BA-247B-22C411AC7207}"/>
          </ac:spMkLst>
        </pc:spChg>
        <pc:spChg chg="add del mod ord">
          <ac:chgData name="Ryterski Finn (HNE US-MI-PB-BO)" userId="efff052d-68b9-4e8d-b65b-45dff653056d" providerId="ADAL" clId="{4E77B3E1-3366-4E21-A4A0-00058AAC76A0}" dt="2025-04-15T12:44:56.893" v="4951" actId="478"/>
          <ac:spMkLst>
            <pc:docMk/>
            <pc:sldMk cId="2014594663" sldId="4201"/>
            <ac:spMk id="6" creationId="{275D28DB-21D3-5EBE-61B8-9B790D135528}"/>
          </ac:spMkLst>
        </pc:spChg>
        <pc:spChg chg="add del mod ord">
          <ac:chgData name="Ryterski Finn (HNE US-MI-PB-BO)" userId="efff052d-68b9-4e8d-b65b-45dff653056d" providerId="ADAL" clId="{4E77B3E1-3366-4E21-A4A0-00058AAC76A0}" dt="2025-04-15T12:44:54.453" v="4950" actId="478"/>
          <ac:spMkLst>
            <pc:docMk/>
            <pc:sldMk cId="2014594663" sldId="4201"/>
            <ac:spMk id="7" creationId="{F635EFE2-51A5-639D-69C9-FCC509813135}"/>
          </ac:spMkLst>
        </pc:spChg>
        <pc:spChg chg="add del mod ord">
          <ac:chgData name="Ryterski Finn (HNE US-MI-PB-BO)" userId="efff052d-68b9-4e8d-b65b-45dff653056d" providerId="ADAL" clId="{4E77B3E1-3366-4E21-A4A0-00058AAC76A0}" dt="2025-04-15T12:44:50.844" v="4949" actId="478"/>
          <ac:spMkLst>
            <pc:docMk/>
            <pc:sldMk cId="2014594663" sldId="4201"/>
            <ac:spMk id="8" creationId="{973ABE13-A27C-7D82-4AAA-0238FDC5CBA1}"/>
          </ac:spMkLst>
        </pc:spChg>
        <pc:spChg chg="add del mod ord">
          <ac:chgData name="Ryterski Finn (HNE US-MI-PB-BO)" userId="efff052d-68b9-4e8d-b65b-45dff653056d" providerId="ADAL" clId="{4E77B3E1-3366-4E21-A4A0-00058AAC76A0}" dt="2025-04-15T12:45:00.260" v="4954" actId="478"/>
          <ac:spMkLst>
            <pc:docMk/>
            <pc:sldMk cId="2014594663" sldId="4201"/>
            <ac:spMk id="9" creationId="{19325806-145E-1B15-DEB2-7D99828A386A}"/>
          </ac:spMkLst>
        </pc:spChg>
        <pc:spChg chg="add mod">
          <ac:chgData name="Ryterski Finn (HNE US-MI-PB-BO)" userId="efff052d-68b9-4e8d-b65b-45dff653056d" providerId="ADAL" clId="{4E77B3E1-3366-4E21-A4A0-00058AAC76A0}" dt="2025-04-15T12:44:42.822" v="4948"/>
          <ac:spMkLst>
            <pc:docMk/>
            <pc:sldMk cId="2014594663" sldId="4201"/>
            <ac:spMk id="11" creationId="{B22FBD52-FB83-CECF-2391-045D22CCE390}"/>
          </ac:spMkLst>
        </pc:spChg>
        <pc:spChg chg="add mod">
          <ac:chgData name="Ryterski Finn (HNE US-MI-PB-BO)" userId="efff052d-68b9-4e8d-b65b-45dff653056d" providerId="ADAL" clId="{4E77B3E1-3366-4E21-A4A0-00058AAC76A0}" dt="2025-04-15T12:44:42.822" v="4948"/>
          <ac:spMkLst>
            <pc:docMk/>
            <pc:sldMk cId="2014594663" sldId="4201"/>
            <ac:spMk id="12" creationId="{CEDE90E6-2838-6C26-E3B5-DA249FD1A9D0}"/>
          </ac:spMkLst>
        </pc:spChg>
        <pc:spChg chg="add mod">
          <ac:chgData name="Ryterski Finn (HNE US-MI-PB-BO)" userId="efff052d-68b9-4e8d-b65b-45dff653056d" providerId="ADAL" clId="{4E77B3E1-3366-4E21-A4A0-00058AAC76A0}" dt="2025-04-15T12:44:42.822" v="4948"/>
          <ac:spMkLst>
            <pc:docMk/>
            <pc:sldMk cId="2014594663" sldId="4201"/>
            <ac:spMk id="13" creationId="{6B5BC02C-E25F-09EE-37A2-2F037BE53481}"/>
          </ac:spMkLst>
        </pc:spChg>
        <pc:spChg chg="add mod">
          <ac:chgData name="Ryterski Finn (HNE US-MI-PB-BO)" userId="efff052d-68b9-4e8d-b65b-45dff653056d" providerId="ADAL" clId="{4E77B3E1-3366-4E21-A4A0-00058AAC76A0}" dt="2025-04-15T12:47:15.614" v="4960" actId="1076"/>
          <ac:spMkLst>
            <pc:docMk/>
            <pc:sldMk cId="2014594663" sldId="4201"/>
            <ac:spMk id="14" creationId="{C72447F7-4D22-919D-89B1-5481C181E2FB}"/>
          </ac:spMkLst>
        </pc:spChg>
        <pc:spChg chg="add mod">
          <ac:chgData name="Ryterski Finn (HNE US-MI-PB-BO)" userId="efff052d-68b9-4e8d-b65b-45dff653056d" providerId="ADAL" clId="{4E77B3E1-3366-4E21-A4A0-00058AAC76A0}" dt="2025-04-15T12:44:42.822" v="4948"/>
          <ac:spMkLst>
            <pc:docMk/>
            <pc:sldMk cId="2014594663" sldId="4201"/>
            <ac:spMk id="15" creationId="{810CC4BD-9E87-EED7-13C4-845FA2DFB31E}"/>
          </ac:spMkLst>
        </pc:spChg>
        <pc:spChg chg="add mod">
          <ac:chgData name="Ryterski Finn (HNE US-MI-PB-BO)" userId="efff052d-68b9-4e8d-b65b-45dff653056d" providerId="ADAL" clId="{4E77B3E1-3366-4E21-A4A0-00058AAC76A0}" dt="2025-04-15T12:44:42.822" v="4948"/>
          <ac:spMkLst>
            <pc:docMk/>
            <pc:sldMk cId="2014594663" sldId="4201"/>
            <ac:spMk id="16" creationId="{8AE29697-8FAD-FFD8-6609-6A1B3A0DAC87}"/>
          </ac:spMkLst>
        </pc:spChg>
        <pc:spChg chg="add mod">
          <ac:chgData name="Ryterski Finn (HNE US-MI-PB-BO)" userId="efff052d-68b9-4e8d-b65b-45dff653056d" providerId="ADAL" clId="{4E77B3E1-3366-4E21-A4A0-00058AAC76A0}" dt="2025-04-15T12:44:42.822" v="4948"/>
          <ac:spMkLst>
            <pc:docMk/>
            <pc:sldMk cId="2014594663" sldId="4201"/>
            <ac:spMk id="17" creationId="{5F41A372-FE84-8D5F-2F79-83DE38B9B77D}"/>
          </ac:spMkLst>
        </pc:spChg>
        <pc:spChg chg="add mod">
          <ac:chgData name="Ryterski Finn (HNE US-MI-PB-BO)" userId="efff052d-68b9-4e8d-b65b-45dff653056d" providerId="ADAL" clId="{4E77B3E1-3366-4E21-A4A0-00058AAC76A0}" dt="2025-04-15T12:44:42.822" v="4948"/>
          <ac:spMkLst>
            <pc:docMk/>
            <pc:sldMk cId="2014594663" sldId="4201"/>
            <ac:spMk id="18" creationId="{8A476216-3C07-8F7E-3B64-61A7CDE4AA47}"/>
          </ac:spMkLst>
        </pc:spChg>
        <pc:spChg chg="add mod">
          <ac:chgData name="Ryterski Finn (HNE US-MI-PB-BO)" userId="efff052d-68b9-4e8d-b65b-45dff653056d" providerId="ADAL" clId="{4E77B3E1-3366-4E21-A4A0-00058AAC76A0}" dt="2025-04-15T12:44:42.822" v="4948"/>
          <ac:spMkLst>
            <pc:docMk/>
            <pc:sldMk cId="2014594663" sldId="4201"/>
            <ac:spMk id="19" creationId="{1E7AEA9C-DA09-56AF-CBA9-E0F45E323630}"/>
          </ac:spMkLst>
        </pc:spChg>
        <pc:spChg chg="mod">
          <ac:chgData name="Ryterski Finn (HNE US-MI-PB-BO)" userId="efff052d-68b9-4e8d-b65b-45dff653056d" providerId="ADAL" clId="{4E77B3E1-3366-4E21-A4A0-00058AAC76A0}" dt="2025-04-15T12:44:42.822" v="4948"/>
          <ac:spMkLst>
            <pc:docMk/>
            <pc:sldMk cId="2014594663" sldId="4201"/>
            <ac:spMk id="21" creationId="{312B4BC9-22A2-3FAF-0939-1DA74D2F92E8}"/>
          </ac:spMkLst>
        </pc:spChg>
        <pc:spChg chg="mod">
          <ac:chgData name="Ryterski Finn (HNE US-MI-PB-BO)" userId="efff052d-68b9-4e8d-b65b-45dff653056d" providerId="ADAL" clId="{4E77B3E1-3366-4E21-A4A0-00058AAC76A0}" dt="2025-04-15T12:44:42.822" v="4948"/>
          <ac:spMkLst>
            <pc:docMk/>
            <pc:sldMk cId="2014594663" sldId="4201"/>
            <ac:spMk id="22" creationId="{FFB8A9FE-5EDF-9654-1255-78A8E808A5BA}"/>
          </ac:spMkLst>
        </pc:spChg>
        <pc:spChg chg="mod">
          <ac:chgData name="Ryterski Finn (HNE US-MI-PB-BO)" userId="efff052d-68b9-4e8d-b65b-45dff653056d" providerId="ADAL" clId="{4E77B3E1-3366-4E21-A4A0-00058AAC76A0}" dt="2025-04-15T12:44:42.822" v="4948"/>
          <ac:spMkLst>
            <pc:docMk/>
            <pc:sldMk cId="2014594663" sldId="4201"/>
            <ac:spMk id="23" creationId="{F2A4732C-DC40-79D4-A21B-D96A8628962D}"/>
          </ac:spMkLst>
        </pc:spChg>
        <pc:spChg chg="add del mod">
          <ac:chgData name="Ryterski Finn (HNE US-MI-PB-BO)" userId="efff052d-68b9-4e8d-b65b-45dff653056d" providerId="ADAL" clId="{4E77B3E1-3366-4E21-A4A0-00058AAC76A0}" dt="2025-04-15T12:45:25.699" v="4958" actId="478"/>
          <ac:spMkLst>
            <pc:docMk/>
            <pc:sldMk cId="2014594663" sldId="4201"/>
            <ac:spMk id="24" creationId="{FB45644E-D737-B8DF-8C7F-96A98EF03CE6}"/>
          </ac:spMkLst>
        </pc:spChg>
        <pc:spChg chg="add mod">
          <ac:chgData name="Ryterski Finn (HNE US-MI-PB-BO)" userId="efff052d-68b9-4e8d-b65b-45dff653056d" providerId="ADAL" clId="{4E77B3E1-3366-4E21-A4A0-00058AAC76A0}" dt="2025-04-15T12:44:42.822" v="4948"/>
          <ac:spMkLst>
            <pc:docMk/>
            <pc:sldMk cId="2014594663" sldId="4201"/>
            <ac:spMk id="25" creationId="{43EE1E76-70B4-67A9-6ED5-1C8477E5A11E}"/>
          </ac:spMkLst>
        </pc:spChg>
        <pc:spChg chg="add mod">
          <ac:chgData name="Ryterski Finn (HNE US-MI-PB-BO)" userId="efff052d-68b9-4e8d-b65b-45dff653056d" providerId="ADAL" clId="{4E77B3E1-3366-4E21-A4A0-00058AAC76A0}" dt="2025-04-15T12:44:42.822" v="4948"/>
          <ac:spMkLst>
            <pc:docMk/>
            <pc:sldMk cId="2014594663" sldId="4201"/>
            <ac:spMk id="26" creationId="{241CC88C-91F8-CADA-6E47-6583F4740C8A}"/>
          </ac:spMkLst>
        </pc:spChg>
        <pc:spChg chg="add mod">
          <ac:chgData name="Ryterski Finn (HNE US-MI-PB-BO)" userId="efff052d-68b9-4e8d-b65b-45dff653056d" providerId="ADAL" clId="{4E77B3E1-3366-4E21-A4A0-00058AAC76A0}" dt="2025-04-15T12:44:42.822" v="4948"/>
          <ac:spMkLst>
            <pc:docMk/>
            <pc:sldMk cId="2014594663" sldId="4201"/>
            <ac:spMk id="34" creationId="{69DC2ABA-F509-6114-C675-4B2D48928F05}"/>
          </ac:spMkLst>
        </pc:spChg>
        <pc:spChg chg="add mod">
          <ac:chgData name="Ryterski Finn (HNE US-MI-PB-BO)" userId="efff052d-68b9-4e8d-b65b-45dff653056d" providerId="ADAL" clId="{4E77B3E1-3366-4E21-A4A0-00058AAC76A0}" dt="2025-04-15T12:44:42.822" v="4948"/>
          <ac:spMkLst>
            <pc:docMk/>
            <pc:sldMk cId="2014594663" sldId="4201"/>
            <ac:spMk id="35" creationId="{6FC4006E-3587-0D96-8FB7-19CFB72F5790}"/>
          </ac:spMkLst>
        </pc:spChg>
        <pc:spChg chg="add mod">
          <ac:chgData name="Ryterski Finn (HNE US-MI-PB-BO)" userId="efff052d-68b9-4e8d-b65b-45dff653056d" providerId="ADAL" clId="{4E77B3E1-3366-4E21-A4A0-00058AAC76A0}" dt="2025-04-15T12:44:42.822" v="4948"/>
          <ac:spMkLst>
            <pc:docMk/>
            <pc:sldMk cId="2014594663" sldId="4201"/>
            <ac:spMk id="36" creationId="{7B2159CB-73CB-33ED-20BC-67F198D44CB4}"/>
          </ac:spMkLst>
        </pc:spChg>
        <pc:spChg chg="add mod">
          <ac:chgData name="Ryterski Finn (HNE US-MI-PB-BO)" userId="efff052d-68b9-4e8d-b65b-45dff653056d" providerId="ADAL" clId="{4E77B3E1-3366-4E21-A4A0-00058AAC76A0}" dt="2025-04-15T12:44:42.822" v="4948"/>
          <ac:spMkLst>
            <pc:docMk/>
            <pc:sldMk cId="2014594663" sldId="4201"/>
            <ac:spMk id="37" creationId="{C92DBEE6-E0E3-E373-9424-31CDCC2B0D66}"/>
          </ac:spMkLst>
        </pc:spChg>
        <pc:spChg chg="add mod">
          <ac:chgData name="Ryterski Finn (HNE US-MI-PB-BO)" userId="efff052d-68b9-4e8d-b65b-45dff653056d" providerId="ADAL" clId="{4E77B3E1-3366-4E21-A4A0-00058AAC76A0}" dt="2025-04-15T12:44:42.822" v="4948"/>
          <ac:spMkLst>
            <pc:docMk/>
            <pc:sldMk cId="2014594663" sldId="4201"/>
            <ac:spMk id="38" creationId="{8CE7E415-7D36-2678-BF40-AB5A18BD792D}"/>
          </ac:spMkLst>
        </pc:spChg>
        <pc:spChg chg="add mod">
          <ac:chgData name="Ryterski Finn (HNE US-MI-PB-BO)" userId="efff052d-68b9-4e8d-b65b-45dff653056d" providerId="ADAL" clId="{4E77B3E1-3366-4E21-A4A0-00058AAC76A0}" dt="2025-04-15T12:44:42.822" v="4948"/>
          <ac:spMkLst>
            <pc:docMk/>
            <pc:sldMk cId="2014594663" sldId="4201"/>
            <ac:spMk id="39" creationId="{B2D5A740-DCC2-0BB0-9474-4BC13116691C}"/>
          </ac:spMkLst>
        </pc:spChg>
        <pc:grpChg chg="add mod">
          <ac:chgData name="Ryterski Finn (HNE US-MI-PB-BO)" userId="efff052d-68b9-4e8d-b65b-45dff653056d" providerId="ADAL" clId="{4E77B3E1-3366-4E21-A4A0-00058AAC76A0}" dt="2025-04-15T12:44:42.822" v="4948"/>
          <ac:grpSpMkLst>
            <pc:docMk/>
            <pc:sldMk cId="2014594663" sldId="4201"/>
            <ac:grpSpMk id="20" creationId="{59740A18-9D3B-64E1-4888-ABACC48D0EED}"/>
          </ac:grpSpMkLst>
        </pc:grpChg>
        <pc:graphicFrameChg chg="add mod ord modVis">
          <ac:chgData name="Ryterski Finn (HNE US-MI-PB-BO)" userId="efff052d-68b9-4e8d-b65b-45dff653056d" providerId="ADAL" clId="{4E77B3E1-3366-4E21-A4A0-00058AAC76A0}" dt="2025-04-15T12:44:57.426" v="4953"/>
          <ac:graphicFrameMkLst>
            <pc:docMk/>
            <pc:sldMk cId="2014594663" sldId="4201"/>
            <ac:graphicFrameMk id="10" creationId="{8C24EA0F-01EA-AC5A-9C7A-CC0C3E9929F3}"/>
          </ac:graphicFrameMkLst>
        </pc:graphicFrameChg>
        <pc:picChg chg="add mod">
          <ac:chgData name="Ryterski Finn (HNE US-MI-PB-BO)" userId="efff052d-68b9-4e8d-b65b-45dff653056d" providerId="ADAL" clId="{4E77B3E1-3366-4E21-A4A0-00058AAC76A0}" dt="2025-04-15T12:44:42.822" v="4948"/>
          <ac:picMkLst>
            <pc:docMk/>
            <pc:sldMk cId="2014594663" sldId="4201"/>
            <ac:picMk id="27" creationId="{019A4616-83BF-FDC9-9D3C-5D1607CCACCD}"/>
          </ac:picMkLst>
        </pc:picChg>
        <pc:picChg chg="add mod">
          <ac:chgData name="Ryterski Finn (HNE US-MI-PB-BO)" userId="efff052d-68b9-4e8d-b65b-45dff653056d" providerId="ADAL" clId="{4E77B3E1-3366-4E21-A4A0-00058AAC76A0}" dt="2025-04-15T12:44:42.822" v="4948"/>
          <ac:picMkLst>
            <pc:docMk/>
            <pc:sldMk cId="2014594663" sldId="4201"/>
            <ac:picMk id="28" creationId="{00E954C8-6464-CBF9-7173-F6A76EC0410B}"/>
          </ac:picMkLst>
        </pc:picChg>
        <pc:picChg chg="add mod">
          <ac:chgData name="Ryterski Finn (HNE US-MI-PB-BO)" userId="efff052d-68b9-4e8d-b65b-45dff653056d" providerId="ADAL" clId="{4E77B3E1-3366-4E21-A4A0-00058AAC76A0}" dt="2025-04-15T12:44:42.822" v="4948"/>
          <ac:picMkLst>
            <pc:docMk/>
            <pc:sldMk cId="2014594663" sldId="4201"/>
            <ac:picMk id="29" creationId="{1FF8FED7-A3C9-3A99-E02C-E43623DE3498}"/>
          </ac:picMkLst>
        </pc:picChg>
        <pc:picChg chg="add mod">
          <ac:chgData name="Ryterski Finn (HNE US-MI-PB-BO)" userId="efff052d-68b9-4e8d-b65b-45dff653056d" providerId="ADAL" clId="{4E77B3E1-3366-4E21-A4A0-00058AAC76A0}" dt="2025-04-15T12:44:42.822" v="4948"/>
          <ac:picMkLst>
            <pc:docMk/>
            <pc:sldMk cId="2014594663" sldId="4201"/>
            <ac:picMk id="30" creationId="{9AB9D7E9-2015-DEE0-C59F-3F06DFB35993}"/>
          </ac:picMkLst>
        </pc:picChg>
        <pc:picChg chg="add mod">
          <ac:chgData name="Ryterski Finn (HNE US-MI-PB-BO)" userId="efff052d-68b9-4e8d-b65b-45dff653056d" providerId="ADAL" clId="{4E77B3E1-3366-4E21-A4A0-00058AAC76A0}" dt="2025-04-15T12:44:42.822" v="4948"/>
          <ac:picMkLst>
            <pc:docMk/>
            <pc:sldMk cId="2014594663" sldId="4201"/>
            <ac:picMk id="31" creationId="{546198AE-2497-421F-5E08-FB0599FDAB1D}"/>
          </ac:picMkLst>
        </pc:picChg>
        <pc:picChg chg="add mod">
          <ac:chgData name="Ryterski Finn (HNE US-MI-PB-BO)" userId="efff052d-68b9-4e8d-b65b-45dff653056d" providerId="ADAL" clId="{4E77B3E1-3366-4E21-A4A0-00058AAC76A0}" dt="2025-04-15T12:44:42.822" v="4948"/>
          <ac:picMkLst>
            <pc:docMk/>
            <pc:sldMk cId="2014594663" sldId="4201"/>
            <ac:picMk id="32" creationId="{32806989-4B4D-1B6C-51BE-DA3672A56D0D}"/>
          </ac:picMkLst>
        </pc:picChg>
        <pc:picChg chg="add mod">
          <ac:chgData name="Ryterski Finn (HNE US-MI-PB-BO)" userId="efff052d-68b9-4e8d-b65b-45dff653056d" providerId="ADAL" clId="{4E77B3E1-3366-4E21-A4A0-00058AAC76A0}" dt="2025-04-15T12:44:42.822" v="4948"/>
          <ac:picMkLst>
            <pc:docMk/>
            <pc:sldMk cId="2014594663" sldId="4201"/>
            <ac:picMk id="33" creationId="{E11B7C92-D4BA-2036-8DBF-A6342A4EFAC1}"/>
          </ac:picMkLst>
        </pc:picChg>
      </pc:sldChg>
      <pc:sldChg chg="addSp delSp modSp new del mod modClrScheme chgLayout">
        <pc:chgData name="Ryterski Finn (HNE US-MI-PB-BO)" userId="efff052d-68b9-4e8d-b65b-45dff653056d" providerId="ADAL" clId="{4E77B3E1-3366-4E21-A4A0-00058AAC76A0}" dt="2025-04-15T12:52:36.841" v="5065" actId="47"/>
        <pc:sldMkLst>
          <pc:docMk/>
          <pc:sldMk cId="3233664344" sldId="4201"/>
        </pc:sldMkLst>
        <pc:spChg chg="del">
          <ac:chgData name="Ryterski Finn (HNE US-MI-PB-BO)" userId="efff052d-68b9-4e8d-b65b-45dff653056d" providerId="ADAL" clId="{4E77B3E1-3366-4E21-A4A0-00058AAC76A0}" dt="2025-04-15T12:52:33.328" v="5050" actId="700"/>
          <ac:spMkLst>
            <pc:docMk/>
            <pc:sldMk cId="3233664344" sldId="4201"/>
            <ac:spMk id="2" creationId="{A92A1533-0375-3135-50A2-9E0879746326}"/>
          </ac:spMkLst>
        </pc:spChg>
        <pc:spChg chg="mod ord">
          <ac:chgData name="Ryterski Finn (HNE US-MI-PB-BO)" userId="efff052d-68b9-4e8d-b65b-45dff653056d" providerId="ADAL" clId="{4E77B3E1-3366-4E21-A4A0-00058AAC76A0}" dt="2025-04-15T12:52:33.328" v="5050" actId="700"/>
          <ac:spMkLst>
            <pc:docMk/>
            <pc:sldMk cId="3233664344" sldId="4201"/>
            <ac:spMk id="3" creationId="{D1E25D15-EE4E-5BFD-3E70-38823DAE32FF}"/>
          </ac:spMkLst>
        </pc:spChg>
        <pc:spChg chg="mod ord">
          <ac:chgData name="Ryterski Finn (HNE US-MI-PB-BO)" userId="efff052d-68b9-4e8d-b65b-45dff653056d" providerId="ADAL" clId="{4E77B3E1-3366-4E21-A4A0-00058AAC76A0}" dt="2025-04-15T12:52:33.328" v="5050" actId="700"/>
          <ac:spMkLst>
            <pc:docMk/>
            <pc:sldMk cId="3233664344" sldId="4201"/>
            <ac:spMk id="4" creationId="{3E4DD4C4-46CF-0264-DB1C-BAC064BA3B96}"/>
          </ac:spMkLst>
        </pc:spChg>
        <pc:spChg chg="del mod ord">
          <ac:chgData name="Ryterski Finn (HNE US-MI-PB-BO)" userId="efff052d-68b9-4e8d-b65b-45dff653056d" providerId="ADAL" clId="{4E77B3E1-3366-4E21-A4A0-00058AAC76A0}" dt="2025-04-15T12:52:33.328" v="5050" actId="700"/>
          <ac:spMkLst>
            <pc:docMk/>
            <pc:sldMk cId="3233664344" sldId="4201"/>
            <ac:spMk id="5" creationId="{3EE9E00F-E90F-8A7E-E672-9BA1A4BE3514}"/>
          </ac:spMkLst>
        </pc:spChg>
        <pc:spChg chg="add mod ord">
          <ac:chgData name="Ryterski Finn (HNE US-MI-PB-BO)" userId="efff052d-68b9-4e8d-b65b-45dff653056d" providerId="ADAL" clId="{4E77B3E1-3366-4E21-A4A0-00058AAC76A0}" dt="2025-04-15T12:52:33.328" v="5050" actId="700"/>
          <ac:spMkLst>
            <pc:docMk/>
            <pc:sldMk cId="3233664344" sldId="4201"/>
            <ac:spMk id="6" creationId="{1F23565A-EF3B-5651-AF0C-6190AAEF9F05}"/>
          </ac:spMkLst>
        </pc:spChg>
        <pc:spChg chg="add mod ord">
          <ac:chgData name="Ryterski Finn (HNE US-MI-PB-BO)" userId="efff052d-68b9-4e8d-b65b-45dff653056d" providerId="ADAL" clId="{4E77B3E1-3366-4E21-A4A0-00058AAC76A0}" dt="2025-04-15T12:52:33.328" v="5050" actId="700"/>
          <ac:spMkLst>
            <pc:docMk/>
            <pc:sldMk cId="3233664344" sldId="4201"/>
            <ac:spMk id="7" creationId="{A17069B0-7DDE-8D0A-57E0-E5B8A6275468}"/>
          </ac:spMkLst>
        </pc:spChg>
        <pc:graphicFrameChg chg="add mod ord modVis">
          <ac:chgData name="Ryterski Finn (HNE US-MI-PB-BO)" userId="efff052d-68b9-4e8d-b65b-45dff653056d" providerId="ADAL" clId="{4E77B3E1-3366-4E21-A4A0-00058AAC76A0}" dt="2025-04-15T12:52:33.957" v="5064"/>
          <ac:graphicFrameMkLst>
            <pc:docMk/>
            <pc:sldMk cId="3233664344" sldId="4201"/>
            <ac:graphicFrameMk id="8" creationId="{94AC416F-4E9A-CA37-2059-D6A6E4EBBDAD}"/>
          </ac:graphicFrameMkLst>
        </pc:graphicFrameChg>
      </pc:sldChg>
      <pc:sldChg chg="modSp add mod">
        <pc:chgData name="Ryterski Finn (HNE US-MI-PB-BO)" userId="efff052d-68b9-4e8d-b65b-45dff653056d" providerId="ADAL" clId="{4E77B3E1-3366-4E21-A4A0-00058AAC76A0}" dt="2025-04-15T14:32:34.188" v="6870" actId="20577"/>
        <pc:sldMkLst>
          <pc:docMk/>
          <pc:sldMk cId="2941374675" sldId="4202"/>
        </pc:sldMkLst>
        <pc:spChg chg="mod">
          <ac:chgData name="Ryterski Finn (HNE US-MI-PB-BO)" userId="efff052d-68b9-4e8d-b65b-45dff653056d" providerId="ADAL" clId="{4E77B3E1-3366-4E21-A4A0-00058AAC76A0}" dt="2025-04-15T14:32:34.188" v="6870" actId="20577"/>
          <ac:spMkLst>
            <pc:docMk/>
            <pc:sldMk cId="2941374675" sldId="4202"/>
            <ac:spMk id="2" creationId="{B4A7C721-509F-47E8-BE23-E19529987347}"/>
          </ac:spMkLst>
        </pc:spChg>
        <pc:spChg chg="mod">
          <ac:chgData name="Ryterski Finn (HNE US-MI-PB-BO)" userId="efff052d-68b9-4e8d-b65b-45dff653056d" providerId="ADAL" clId="{4E77B3E1-3366-4E21-A4A0-00058AAC76A0}" dt="2025-04-15T14:32:30.408" v="6868" actId="3064"/>
          <ac:spMkLst>
            <pc:docMk/>
            <pc:sldMk cId="2941374675" sldId="4202"/>
            <ac:spMk id="9" creationId="{43669EF4-1A9D-2F6B-9358-C02C07B2052A}"/>
          </ac:spMkLst>
        </pc:spChg>
      </pc:sldChg>
      <pc:sldChg chg="modSp add del mod">
        <pc:chgData name="Ryterski Finn (HNE US-MI-PB-BO)" userId="efff052d-68b9-4e8d-b65b-45dff653056d" providerId="ADAL" clId="{4E77B3E1-3366-4E21-A4A0-00058AAC76A0}" dt="2025-04-15T08:26:14.874" v="921"/>
        <pc:sldMkLst>
          <pc:docMk/>
          <pc:sldMk cId="1745886859" sldId="2147473986"/>
        </pc:sldMkLst>
        <pc:spChg chg="mod">
          <ac:chgData name="Ryterski Finn (HNE US-MI-PB-BO)" userId="efff052d-68b9-4e8d-b65b-45dff653056d" providerId="ADAL" clId="{4E77B3E1-3366-4E21-A4A0-00058AAC76A0}" dt="2025-04-15T08:26:14.874" v="921"/>
          <ac:spMkLst>
            <pc:docMk/>
            <pc:sldMk cId="1745886859" sldId="2147473986"/>
            <ac:spMk id="3" creationId="{F3CB8F95-312B-3EAA-7ABF-9B62D944D0CD}"/>
          </ac:spMkLst>
        </pc:spChg>
        <pc:graphicFrameChg chg="mod">
          <ac:chgData name="Ryterski Finn (HNE US-MI-PB-BO)" userId="efff052d-68b9-4e8d-b65b-45dff653056d" providerId="ADAL" clId="{4E77B3E1-3366-4E21-A4A0-00058AAC76A0}" dt="2025-04-15T08:26:14.874" v="921"/>
          <ac:graphicFrameMkLst>
            <pc:docMk/>
            <pc:sldMk cId="1745886859" sldId="2147473986"/>
            <ac:graphicFrameMk id="6" creationId="{E8B0581B-8750-A270-7BD1-CA11B3314302}"/>
          </ac:graphicFrameMkLst>
        </pc:graphicFrameChg>
      </pc:sldChg>
      <pc:sldChg chg="addSp delSp modSp add del mod">
        <pc:chgData name="Ryterski Finn (HNE US-MI-PB-BO)" userId="efff052d-68b9-4e8d-b65b-45dff653056d" providerId="ADAL" clId="{4E77B3E1-3366-4E21-A4A0-00058AAC76A0}" dt="2025-04-15T12:19:50.242" v="4145"/>
        <pc:sldMkLst>
          <pc:docMk/>
          <pc:sldMk cId="3340265257" sldId="2147474016"/>
        </pc:sldMkLst>
        <pc:graphicFrameChg chg="mod">
          <ac:chgData name="Ryterski Finn (HNE US-MI-PB-BO)" userId="efff052d-68b9-4e8d-b65b-45dff653056d" providerId="ADAL" clId="{4E77B3E1-3366-4E21-A4A0-00058AAC76A0}" dt="2025-04-15T12:19:50.242" v="4145"/>
          <ac:graphicFrameMkLst>
            <pc:docMk/>
            <pc:sldMk cId="3340265257" sldId="2147474016"/>
            <ac:graphicFrameMk id="6" creationId="{E8B0581B-8750-A270-7BD1-CA11B3314302}"/>
          </ac:graphicFrameMkLst>
        </pc:graphicFrameChg>
        <pc:picChg chg="mod">
          <ac:chgData name="Ryterski Finn (HNE US-MI-PB-BO)" userId="efff052d-68b9-4e8d-b65b-45dff653056d" providerId="ADAL" clId="{4E77B3E1-3366-4E21-A4A0-00058AAC76A0}" dt="2025-04-15T12:19:49.280" v="4143" actId="1076"/>
          <ac:picMkLst>
            <pc:docMk/>
            <pc:sldMk cId="3340265257" sldId="2147474016"/>
            <ac:picMk id="22" creationId="{F53AEC07-606D-08AC-507E-E7B74DC84FD3}"/>
          </ac:picMkLst>
        </pc:picChg>
        <pc:picChg chg="add del mod">
          <ac:chgData name="Ryterski Finn (HNE US-MI-PB-BO)" userId="efff052d-68b9-4e8d-b65b-45dff653056d" providerId="ADAL" clId="{4E77B3E1-3366-4E21-A4A0-00058AAC76A0}" dt="2025-04-15T12:19:48.843" v="4142" actId="1076"/>
          <ac:picMkLst>
            <pc:docMk/>
            <pc:sldMk cId="3340265257" sldId="2147474016"/>
            <ac:picMk id="38" creationId="{1D53B8A1-6DC6-2B53-1C24-EAC045124EB3}"/>
          </ac:picMkLst>
        </pc:picChg>
      </pc:sldChg>
      <pc:sldChg chg="addSp delSp modSp add mod">
        <pc:chgData name="Ryterski Finn (HNE US-MI-PB-BO)" userId="efff052d-68b9-4e8d-b65b-45dff653056d" providerId="ADAL" clId="{4E77B3E1-3366-4E21-A4A0-00058AAC76A0}" dt="2025-04-15T10:43:42.394" v="3174"/>
        <pc:sldMkLst>
          <pc:docMk/>
          <pc:sldMk cId="1644342985" sldId="2147474033"/>
        </pc:sldMkLst>
        <pc:spChg chg="add mod">
          <ac:chgData name="Ryterski Finn (HNE US-MI-PB-BO)" userId="efff052d-68b9-4e8d-b65b-45dff653056d" providerId="ADAL" clId="{4E77B3E1-3366-4E21-A4A0-00058AAC76A0}" dt="2025-04-15T10:43:41.885" v="3172" actId="20577"/>
          <ac:spMkLst>
            <pc:docMk/>
            <pc:sldMk cId="1644342985" sldId="2147474033"/>
            <ac:spMk id="2" creationId="{644AB0FC-35EF-350E-2166-54DAB0C68A1E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7" creationId="{03F92941-E46D-15A7-4E21-76FDE77B6203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8" creationId="{4954EF3F-63B1-D7E1-230E-21D8B98439F1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10" creationId="{7C6DABAC-F9DC-27EB-45EF-61DC5A846234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11" creationId="{0129DAF0-9B5E-6A8C-DA3A-20A614965BD5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13" creationId="{81892F74-3857-35F9-565E-CB924F8B236A}"/>
          </ac:spMkLst>
        </pc:spChg>
        <pc:spChg chg="mod">
          <ac:chgData name="Ryterski Finn (HNE US-MI-PB-BO)" userId="efff052d-68b9-4e8d-b65b-45dff653056d" providerId="ADAL" clId="{4E77B3E1-3366-4E21-A4A0-00058AAC76A0}" dt="2025-04-15T09:07:06.522" v="2670" actId="20577"/>
          <ac:spMkLst>
            <pc:docMk/>
            <pc:sldMk cId="1644342985" sldId="2147474033"/>
            <ac:spMk id="14" creationId="{4112CB87-9D48-AD25-D33B-E91764829064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16" creationId="{A7081D96-AB2C-FE92-FB0A-01D09F42232A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17" creationId="{4037AFF0-79AC-ED2B-AA99-4CE496B45F53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18" creationId="{7D37D9C7-3C52-0B45-FD8C-D717305FADB8}"/>
          </ac:spMkLst>
        </pc:spChg>
        <pc:spChg chg="del mod">
          <ac:chgData name="Ryterski Finn (HNE US-MI-PB-BO)" userId="efff052d-68b9-4e8d-b65b-45dff653056d" providerId="ADAL" clId="{4E77B3E1-3366-4E21-A4A0-00058AAC76A0}" dt="2025-04-15T09:06:37.901" v="2668" actId="478"/>
          <ac:spMkLst>
            <pc:docMk/>
            <pc:sldMk cId="1644342985" sldId="2147474033"/>
            <ac:spMk id="20" creationId="{90F06483-673B-52B4-C68A-AE20457866C9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21" creationId="{C7946F32-EFFA-2DCE-D8DC-5A2EC7292863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22" creationId="{2E39C73A-BAFE-4242-3271-126799AC3BCA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23" creationId="{CBB7FF7B-31D7-2849-E7FE-EBB7DFFF3F46}"/>
          </ac:spMkLst>
        </pc:spChg>
        <pc:spChg chg="mod">
          <ac:chgData name="Ryterski Finn (HNE US-MI-PB-BO)" userId="efff052d-68b9-4e8d-b65b-45dff653056d" providerId="ADAL" clId="{4E77B3E1-3366-4E21-A4A0-00058AAC76A0}" dt="2025-04-15T09:07:34.622" v="2749" actId="20577"/>
          <ac:spMkLst>
            <pc:docMk/>
            <pc:sldMk cId="1644342985" sldId="2147474033"/>
            <ac:spMk id="25" creationId="{564F83F1-E259-56BE-54C9-ED47003ED43F}"/>
          </ac:spMkLst>
        </pc:spChg>
        <pc:spChg chg="mod">
          <ac:chgData name="Ryterski Finn (HNE US-MI-PB-BO)" userId="efff052d-68b9-4e8d-b65b-45dff653056d" providerId="ADAL" clId="{4E77B3E1-3366-4E21-A4A0-00058AAC76A0}" dt="2025-04-15T09:08:19.769" v="2892" actId="20577"/>
          <ac:spMkLst>
            <pc:docMk/>
            <pc:sldMk cId="1644342985" sldId="2147474033"/>
            <ac:spMk id="26" creationId="{442931D7-C6C0-0EE0-0AC5-8B3B8F477CAF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27" creationId="{2387826E-9898-A4CF-75E1-6405B5A4EAF5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30" creationId="{6C851780-BD38-1AFB-D973-774725061285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31" creationId="{F8B289F1-5795-FE14-6943-FF4E45B59F43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32" creationId="{25EB8543-7B53-158B-079C-577347AB5E36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33" creationId="{EC9CD50A-FF9C-4984-AED9-0C3BEF476089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36" creationId="{DD82EF1F-3F35-EE78-20A0-B57208210BA8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38" creationId="{084B70BB-6EBC-D2ED-FB90-BA7F0BA5F9D0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40" creationId="{A09B68AF-EB67-037F-9AD4-A6FFE9C96C50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41" creationId="{30AA9FF3-3E49-53C2-DD08-0B2DDB89F20F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42" creationId="{6F58418B-242F-9387-265D-CB1AFE9178A3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44" creationId="{A8D11343-8A53-1BC9-D39B-CA30DE27138A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46" creationId="{BB5DF0B4-57F0-8F70-CCB6-F3EE52941829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47" creationId="{508C45E9-041D-D730-31BF-9AAB73405849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48" creationId="{CAB102EC-31FA-C4AD-4045-7D0BFD1E74BD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49" creationId="{C20F9D49-3359-297C-3C4F-65154F4420F6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50" creationId="{D978D28E-AA7A-81D2-AD5F-74443209F6B5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51" creationId="{130CA97B-F5A7-08D4-2410-57E3BC2E1388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60" creationId="{921B999F-F285-5374-7A57-6EA39CCD2F03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61" creationId="{92136D12-0DB6-9BB2-4816-1BA37FD6C4C9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62" creationId="{19B733A6-EB95-0FF7-7396-39CEEA162B2C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70" creationId="{5C47E8E0-976C-2BB7-3E09-04215BE31E30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71" creationId="{16F3CB0F-3A56-A698-C48B-E91D047FDA02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72" creationId="{73B598B9-1E4B-F5F1-B56B-1A6B93C0DDEC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73" creationId="{E7CC2E4F-D6D1-63FB-5FBD-97B5647A5616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74" creationId="{4A1FEFAA-8676-165B-0318-1E1F6864243D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75" creationId="{1246A187-978D-C51C-B2A6-EC66E58D2FA8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78" creationId="{6067A385-CA50-F96C-CA18-77D493B0F23A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79" creationId="{D8D93E1A-9DDD-AD70-E169-1E96F6512CD3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83" creationId="{BCE42E2F-DEAC-A86B-E86A-125E5E14CA31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85" creationId="{07F91E42-300A-DF76-602F-717A42056FB1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86" creationId="{EE8C823B-D533-6832-C8C0-0CB552783676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87" creationId="{E3CE5B8E-A5E9-F5B8-75FD-E0063BF7E848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88" creationId="{A7DD04E3-AF51-1DC6-8ECE-A7CF583B5184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89" creationId="{2BC43DF8-5195-8FCA-8C76-6103B3ECE05F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90" creationId="{27F9F046-D38F-E320-C71C-ED4935A1D2C9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91" creationId="{5271E942-7E7F-59DB-8510-AA09E6C8937E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92" creationId="{A7F4C039-B018-A2F5-A143-EA8083700B83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93" creationId="{9C2C1B7E-874F-1868-D21D-93E1523A64C3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94" creationId="{96FC3AE8-1394-28B5-9544-9EDDA608CEF8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95" creationId="{B419F76B-E9EB-4EAD-D29E-FF83C544BFA5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97" creationId="{799CCB32-48A0-F849-13B7-6956FA8E441F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98" creationId="{67CAE89B-68A7-0C7A-2C38-7EAA1E51AE7A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99" creationId="{A417B88B-AA44-9478-3F98-D0B0E981378C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100" creationId="{6E832651-D419-53BA-6A80-8D98A6EF4255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101" creationId="{6A41053D-5D20-604E-310A-E89B350DA75B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103" creationId="{4CA781C2-F9FE-FEE4-B43C-A5C4FB11E76B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104" creationId="{8303379D-5F29-E3AD-B793-931F37363D97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105" creationId="{341E1C19-B1CA-A905-79F8-88DF05895A38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106" creationId="{DA21723D-DCDD-310A-8BFA-8FD41AB8385C}"/>
          </ac:spMkLst>
        </pc:spChg>
        <pc:spChg chg="mod">
          <ac:chgData name="Ryterski Finn (HNE US-MI-PB-BO)" userId="efff052d-68b9-4e8d-b65b-45dff653056d" providerId="ADAL" clId="{4E77B3E1-3366-4E21-A4A0-00058AAC76A0}" dt="2025-04-15T09:00:57.113" v="2652" actId="1076"/>
          <ac:spMkLst>
            <pc:docMk/>
            <pc:sldMk cId="1644342985" sldId="2147474033"/>
            <ac:spMk id="107" creationId="{2AA0E0EB-AFD4-2A13-48AC-9E92593E6AEC}"/>
          </ac:spMkLst>
        </pc:spChg>
        <pc:grpChg chg="mod">
          <ac:chgData name="Ryterski Finn (HNE US-MI-PB-BO)" userId="efff052d-68b9-4e8d-b65b-45dff653056d" providerId="ADAL" clId="{4E77B3E1-3366-4E21-A4A0-00058AAC76A0}" dt="2025-04-15T09:00:57.113" v="2652" actId="1076"/>
          <ac:grpSpMkLst>
            <pc:docMk/>
            <pc:sldMk cId="1644342985" sldId="2147474033"/>
            <ac:grpSpMk id="3" creationId="{0A482DD7-1F4E-FE68-1E46-E3DE9A406402}"/>
          </ac:grpSpMkLst>
        </pc:grpChg>
        <pc:grpChg chg="del mod">
          <ac:chgData name="Ryterski Finn (HNE US-MI-PB-BO)" userId="efff052d-68b9-4e8d-b65b-45dff653056d" providerId="ADAL" clId="{4E77B3E1-3366-4E21-A4A0-00058AAC76A0}" dt="2025-04-15T09:06:34.678" v="2667" actId="478"/>
          <ac:grpSpMkLst>
            <pc:docMk/>
            <pc:sldMk cId="1644342985" sldId="2147474033"/>
            <ac:grpSpMk id="6" creationId="{FCCEED3C-BB53-561D-9F83-D66E7BD466F7}"/>
          </ac:grpSpMkLst>
        </pc:grpChg>
        <pc:grpChg chg="mod">
          <ac:chgData name="Ryterski Finn (HNE US-MI-PB-BO)" userId="efff052d-68b9-4e8d-b65b-45dff653056d" providerId="ADAL" clId="{4E77B3E1-3366-4E21-A4A0-00058AAC76A0}" dt="2025-04-15T09:00:57.113" v="2652" actId="1076"/>
          <ac:grpSpMkLst>
            <pc:docMk/>
            <pc:sldMk cId="1644342985" sldId="2147474033"/>
            <ac:grpSpMk id="9" creationId="{A77A4AD0-E748-0BC4-C462-747E015AAEF0}"/>
          </ac:grpSpMkLst>
        </pc:grpChg>
        <pc:grpChg chg="mod">
          <ac:chgData name="Ryterski Finn (HNE US-MI-PB-BO)" userId="efff052d-68b9-4e8d-b65b-45dff653056d" providerId="ADAL" clId="{4E77B3E1-3366-4E21-A4A0-00058AAC76A0}" dt="2025-04-15T09:00:57.113" v="2652" actId="1076"/>
          <ac:grpSpMkLst>
            <pc:docMk/>
            <pc:sldMk cId="1644342985" sldId="2147474033"/>
            <ac:grpSpMk id="12" creationId="{5F50339D-9C35-BDF6-CD71-6CF8DF3B856E}"/>
          </ac:grpSpMkLst>
        </pc:grpChg>
        <pc:grpChg chg="mod">
          <ac:chgData name="Ryterski Finn (HNE US-MI-PB-BO)" userId="efff052d-68b9-4e8d-b65b-45dff653056d" providerId="ADAL" clId="{4E77B3E1-3366-4E21-A4A0-00058AAC76A0}" dt="2025-04-15T09:00:57.113" v="2652" actId="1076"/>
          <ac:grpSpMkLst>
            <pc:docMk/>
            <pc:sldMk cId="1644342985" sldId="2147474033"/>
            <ac:grpSpMk id="15" creationId="{D7238270-6B98-7A45-869C-9A65B52025EC}"/>
          </ac:grpSpMkLst>
        </pc:grpChg>
        <pc:grpChg chg="mod">
          <ac:chgData name="Ryterski Finn (HNE US-MI-PB-BO)" userId="efff052d-68b9-4e8d-b65b-45dff653056d" providerId="ADAL" clId="{4E77B3E1-3366-4E21-A4A0-00058AAC76A0}" dt="2025-04-15T09:06:53.366" v="2669" actId="1076"/>
          <ac:grpSpMkLst>
            <pc:docMk/>
            <pc:sldMk cId="1644342985" sldId="2147474033"/>
            <ac:grpSpMk id="24" creationId="{02BB2119-2D17-0A43-CF68-1775C7EB0522}"/>
          </ac:grpSpMkLst>
        </pc:grpChg>
        <pc:grpChg chg="mod">
          <ac:chgData name="Ryterski Finn (HNE US-MI-PB-BO)" userId="efff052d-68b9-4e8d-b65b-45dff653056d" providerId="ADAL" clId="{4E77B3E1-3366-4E21-A4A0-00058AAC76A0}" dt="2025-04-15T09:00:57.113" v="2652" actId="1076"/>
          <ac:grpSpMkLst>
            <pc:docMk/>
            <pc:sldMk cId="1644342985" sldId="2147474033"/>
            <ac:grpSpMk id="39" creationId="{070983D6-7DEF-63EA-06D3-65A2F8EB763C}"/>
          </ac:grpSpMkLst>
        </pc:grpChg>
        <pc:grpChg chg="mod">
          <ac:chgData name="Ryterski Finn (HNE US-MI-PB-BO)" userId="efff052d-68b9-4e8d-b65b-45dff653056d" providerId="ADAL" clId="{4E77B3E1-3366-4E21-A4A0-00058AAC76A0}" dt="2025-04-15T09:00:57.113" v="2652" actId="1076"/>
          <ac:grpSpMkLst>
            <pc:docMk/>
            <pc:sldMk cId="1644342985" sldId="2147474033"/>
            <ac:grpSpMk id="45" creationId="{091AF090-6CAA-4327-1924-CCC2D5D90CFA}"/>
          </ac:grpSpMkLst>
        </pc:grpChg>
        <pc:grpChg chg="mod">
          <ac:chgData name="Ryterski Finn (HNE US-MI-PB-BO)" userId="efff052d-68b9-4e8d-b65b-45dff653056d" providerId="ADAL" clId="{4E77B3E1-3366-4E21-A4A0-00058AAC76A0}" dt="2025-04-15T09:00:57.113" v="2652" actId="1076"/>
          <ac:grpSpMkLst>
            <pc:docMk/>
            <pc:sldMk cId="1644342985" sldId="2147474033"/>
            <ac:grpSpMk id="59" creationId="{FE5F120D-A2A0-C6B1-D67C-D20E9D0C069E}"/>
          </ac:grpSpMkLst>
        </pc:grpChg>
        <pc:grpChg chg="mod">
          <ac:chgData name="Ryterski Finn (HNE US-MI-PB-BO)" userId="efff052d-68b9-4e8d-b65b-45dff653056d" providerId="ADAL" clId="{4E77B3E1-3366-4E21-A4A0-00058AAC76A0}" dt="2025-04-15T09:00:57.113" v="2652" actId="1076"/>
          <ac:grpSpMkLst>
            <pc:docMk/>
            <pc:sldMk cId="1644342985" sldId="2147474033"/>
            <ac:grpSpMk id="69" creationId="{24C139FA-7164-F9FC-3B46-88B5C59AF9FD}"/>
          </ac:grpSpMkLst>
        </pc:grpChg>
        <pc:grpChg chg="mod">
          <ac:chgData name="Ryterski Finn (HNE US-MI-PB-BO)" userId="efff052d-68b9-4e8d-b65b-45dff653056d" providerId="ADAL" clId="{4E77B3E1-3366-4E21-A4A0-00058AAC76A0}" dt="2025-04-15T09:00:57.113" v="2652" actId="1076"/>
          <ac:grpSpMkLst>
            <pc:docMk/>
            <pc:sldMk cId="1644342985" sldId="2147474033"/>
            <ac:grpSpMk id="76" creationId="{523634C6-2C8D-F2F9-B8F9-ECC068335A23}"/>
          </ac:grpSpMkLst>
        </pc:grpChg>
        <pc:grpChg chg="mod">
          <ac:chgData name="Ryterski Finn (HNE US-MI-PB-BO)" userId="efff052d-68b9-4e8d-b65b-45dff653056d" providerId="ADAL" clId="{4E77B3E1-3366-4E21-A4A0-00058AAC76A0}" dt="2025-04-15T09:00:57.113" v="2652" actId="1076"/>
          <ac:grpSpMkLst>
            <pc:docMk/>
            <pc:sldMk cId="1644342985" sldId="2147474033"/>
            <ac:grpSpMk id="77" creationId="{6E0CB2BB-F348-83CC-D73D-5D04BFAB06B4}"/>
          </ac:grpSpMkLst>
        </pc:grpChg>
        <pc:grpChg chg="mod">
          <ac:chgData name="Ryterski Finn (HNE US-MI-PB-BO)" userId="efff052d-68b9-4e8d-b65b-45dff653056d" providerId="ADAL" clId="{4E77B3E1-3366-4E21-A4A0-00058AAC76A0}" dt="2025-04-15T09:00:57.113" v="2652" actId="1076"/>
          <ac:grpSpMkLst>
            <pc:docMk/>
            <pc:sldMk cId="1644342985" sldId="2147474033"/>
            <ac:grpSpMk id="80" creationId="{A7A9DED7-B302-7E9E-7038-65D76F0AC30F}"/>
          </ac:grpSpMkLst>
        </pc:grpChg>
        <pc:grpChg chg="mod">
          <ac:chgData name="Ryterski Finn (HNE US-MI-PB-BO)" userId="efff052d-68b9-4e8d-b65b-45dff653056d" providerId="ADAL" clId="{4E77B3E1-3366-4E21-A4A0-00058AAC76A0}" dt="2025-04-15T09:00:57.113" v="2652" actId="1076"/>
          <ac:grpSpMkLst>
            <pc:docMk/>
            <pc:sldMk cId="1644342985" sldId="2147474033"/>
            <ac:grpSpMk id="81" creationId="{F656FD51-2722-7710-8158-F21BD33E9C4F}"/>
          </ac:grpSpMkLst>
        </pc:grpChg>
        <pc:grpChg chg="mod">
          <ac:chgData name="Ryterski Finn (HNE US-MI-PB-BO)" userId="efff052d-68b9-4e8d-b65b-45dff653056d" providerId="ADAL" clId="{4E77B3E1-3366-4E21-A4A0-00058AAC76A0}" dt="2025-04-15T09:00:57.113" v="2652" actId="1076"/>
          <ac:grpSpMkLst>
            <pc:docMk/>
            <pc:sldMk cId="1644342985" sldId="2147474033"/>
            <ac:grpSpMk id="82" creationId="{F2CA3FDA-54DC-674E-F9CC-9C9A9B8CE825}"/>
          </ac:grpSpMkLst>
        </pc:grpChg>
        <pc:grpChg chg="mod">
          <ac:chgData name="Ryterski Finn (HNE US-MI-PB-BO)" userId="efff052d-68b9-4e8d-b65b-45dff653056d" providerId="ADAL" clId="{4E77B3E1-3366-4E21-A4A0-00058AAC76A0}" dt="2025-04-15T09:00:57.113" v="2652" actId="1076"/>
          <ac:grpSpMkLst>
            <pc:docMk/>
            <pc:sldMk cId="1644342985" sldId="2147474033"/>
            <ac:grpSpMk id="96" creationId="{5F5B020F-C956-94D1-CA6C-3895776809E2}"/>
          </ac:grpSpMkLst>
        </pc:grpChg>
        <pc:grpChg chg="mod">
          <ac:chgData name="Ryterski Finn (HNE US-MI-PB-BO)" userId="efff052d-68b9-4e8d-b65b-45dff653056d" providerId="ADAL" clId="{4E77B3E1-3366-4E21-A4A0-00058AAC76A0}" dt="2025-04-15T09:00:57.113" v="2652" actId="1076"/>
          <ac:grpSpMkLst>
            <pc:docMk/>
            <pc:sldMk cId="1644342985" sldId="2147474033"/>
            <ac:grpSpMk id="102" creationId="{3EB25689-9459-6D26-2019-9647DF77EEA2}"/>
          </ac:grpSpMkLst>
        </pc:grpChg>
        <pc:graphicFrameChg chg="mod">
          <ac:chgData name="Ryterski Finn (HNE US-MI-PB-BO)" userId="efff052d-68b9-4e8d-b65b-45dff653056d" providerId="ADAL" clId="{4E77B3E1-3366-4E21-A4A0-00058AAC76A0}" dt="2025-04-15T10:43:42.394" v="3174"/>
          <ac:graphicFrameMkLst>
            <pc:docMk/>
            <pc:sldMk cId="1644342985" sldId="2147474033"/>
            <ac:graphicFrameMk id="29" creationId="{20D01005-AC52-1B94-C979-1887806C6EC9}"/>
          </ac:graphicFrameMkLst>
        </pc:graphicFrameChg>
        <pc:picChg chg="mod">
          <ac:chgData name="Ryterski Finn (HNE US-MI-PB-BO)" userId="efff052d-68b9-4e8d-b65b-45dff653056d" providerId="ADAL" clId="{4E77B3E1-3366-4E21-A4A0-00058AAC76A0}" dt="2025-04-15T09:00:57.113" v="2652" actId="1076"/>
          <ac:picMkLst>
            <pc:docMk/>
            <pc:sldMk cId="1644342985" sldId="2147474033"/>
            <ac:picMk id="84" creationId="{B591814C-9824-9F09-3F81-912CF6227537}"/>
          </ac:picMkLst>
        </pc:picChg>
      </pc:sldChg>
      <pc:sldMasterChg chg="delSldLayout">
        <pc:chgData name="Ryterski Finn (HNE US-MI-PB-BO)" userId="efff052d-68b9-4e8d-b65b-45dff653056d" providerId="ADAL" clId="{4E77B3E1-3366-4E21-A4A0-00058AAC76A0}" dt="2025-04-15T08:57:52.192" v="2415" actId="47"/>
        <pc:sldMasterMkLst>
          <pc:docMk/>
          <pc:sldMasterMk cId="2501798855" sldId="2147483660"/>
        </pc:sldMasterMkLst>
        <pc:sldLayoutChg chg="del">
          <pc:chgData name="Ryterski Finn (HNE US-MI-PB-BO)" userId="efff052d-68b9-4e8d-b65b-45dff653056d" providerId="ADAL" clId="{4E77B3E1-3366-4E21-A4A0-00058AAC76A0}" dt="2025-04-15T07:41:38.825" v="12" actId="47"/>
          <pc:sldLayoutMkLst>
            <pc:docMk/>
            <pc:sldMasterMk cId="2501798855" sldId="2147483660"/>
            <pc:sldLayoutMk cId="4195437195" sldId="2147483725"/>
          </pc:sldLayoutMkLst>
        </pc:sldLayoutChg>
        <pc:sldLayoutChg chg="del">
          <pc:chgData name="Ryterski Finn (HNE US-MI-PB-BO)" userId="efff052d-68b9-4e8d-b65b-45dff653056d" providerId="ADAL" clId="{4E77B3E1-3366-4E21-A4A0-00058AAC76A0}" dt="2025-04-15T08:57:52.192" v="2415" actId="47"/>
          <pc:sldLayoutMkLst>
            <pc:docMk/>
            <pc:sldMasterMk cId="2501798855" sldId="2147483660"/>
            <pc:sldLayoutMk cId="136926072" sldId="2147483753"/>
          </pc:sldLayoutMkLst>
        </pc:sldLayoutChg>
        <pc:sldLayoutChg chg="del">
          <pc:chgData name="Ryterski Finn (HNE US-MI-PB-BO)" userId="efff052d-68b9-4e8d-b65b-45dff653056d" providerId="ADAL" clId="{4E77B3E1-3366-4E21-A4A0-00058AAC76A0}" dt="2025-04-15T08:37:58.920" v="1673" actId="47"/>
          <pc:sldLayoutMkLst>
            <pc:docMk/>
            <pc:sldMasterMk cId="2501798855" sldId="2147483660"/>
            <pc:sldLayoutMk cId="1503934110" sldId="2147483753"/>
          </pc:sldLayoutMkLst>
        </pc:sldLayoutChg>
        <pc:sldLayoutChg chg="del">
          <pc:chgData name="Ryterski Finn (HNE US-MI-PB-BO)" userId="efff052d-68b9-4e8d-b65b-45dff653056d" providerId="ADAL" clId="{4E77B3E1-3366-4E21-A4A0-00058AAC76A0}" dt="2025-04-15T08:00:38.588" v="662" actId="47"/>
          <pc:sldLayoutMkLst>
            <pc:docMk/>
            <pc:sldMasterMk cId="2501798855" sldId="2147483660"/>
            <pc:sldLayoutMk cId="2437665766" sldId="2147483753"/>
          </pc:sldLayoutMkLst>
        </pc:sldLayoutChg>
      </pc:sldMasterChg>
    </pc:docChg>
  </pc:docChgLst>
  <pc:docChgLst>
    <pc:chgData name="Kerstin Müller (Hamburg Port Authority AöR)" userId="S::kerstin.mueller_hpa.hamburg.de#ext#@fhhinfra.onmicrosoft.com::4a9410fc-619c-4e33-a753-a4d73ec6f1a8" providerId="AD" clId="Web-{498EBCE8-6A5B-C2BC-ECD9-6B3BBAA73CDE}"/>
    <pc:docChg chg="modSld sldOrd">
      <pc:chgData name="Kerstin Müller (Hamburg Port Authority AöR)" userId="S::kerstin.mueller_hpa.hamburg.de#ext#@fhhinfra.onmicrosoft.com::4a9410fc-619c-4e33-a753-a4d73ec6f1a8" providerId="AD" clId="Web-{498EBCE8-6A5B-C2BC-ECD9-6B3BBAA73CDE}" dt="2025-04-15T15:57:30.444" v="183" actId="20577"/>
      <pc:docMkLst>
        <pc:docMk/>
      </pc:docMkLst>
      <pc:sldChg chg="modSp">
        <pc:chgData name="Kerstin Müller (Hamburg Port Authority AöR)" userId="S::kerstin.mueller_hpa.hamburg.de#ext#@fhhinfra.onmicrosoft.com::4a9410fc-619c-4e33-a753-a4d73ec6f1a8" providerId="AD" clId="Web-{498EBCE8-6A5B-C2BC-ECD9-6B3BBAA73CDE}" dt="2025-04-15T15:23:10.442" v="20" actId="20577"/>
        <pc:sldMkLst>
          <pc:docMk/>
          <pc:sldMk cId="1310280941" sldId="4193"/>
        </pc:sldMkLst>
        <pc:spChg chg="mod">
          <ac:chgData name="Kerstin Müller (Hamburg Port Authority AöR)" userId="S::kerstin.mueller_hpa.hamburg.de#ext#@fhhinfra.onmicrosoft.com::4a9410fc-619c-4e33-a753-a4d73ec6f1a8" providerId="AD" clId="Web-{498EBCE8-6A5B-C2BC-ECD9-6B3BBAA73CDE}" dt="2025-04-15T15:18:47.480" v="12" actId="20577"/>
          <ac:spMkLst>
            <pc:docMk/>
            <pc:sldMk cId="1310280941" sldId="4193"/>
            <ac:spMk id="13" creationId="{4C1E948B-C4BB-0372-08FB-314573378267}"/>
          </ac:spMkLst>
        </pc:spChg>
        <pc:spChg chg="mod">
          <ac:chgData name="Kerstin Müller (Hamburg Port Authority AöR)" userId="S::kerstin.mueller_hpa.hamburg.de#ext#@fhhinfra.onmicrosoft.com::4a9410fc-619c-4e33-a753-a4d73ec6f1a8" providerId="AD" clId="Web-{498EBCE8-6A5B-C2BC-ECD9-6B3BBAA73CDE}" dt="2025-04-15T15:18:57.231" v="14" actId="20577"/>
          <ac:spMkLst>
            <pc:docMk/>
            <pc:sldMk cId="1310280941" sldId="4193"/>
            <ac:spMk id="18" creationId="{5E099DA6-4B35-A5ED-5FB6-9DB8159A909F}"/>
          </ac:spMkLst>
        </pc:spChg>
        <pc:spChg chg="mod">
          <ac:chgData name="Kerstin Müller (Hamburg Port Authority AöR)" userId="S::kerstin.mueller_hpa.hamburg.de#ext#@fhhinfra.onmicrosoft.com::4a9410fc-619c-4e33-a753-a4d73ec6f1a8" providerId="AD" clId="Web-{498EBCE8-6A5B-C2BC-ECD9-6B3BBAA73CDE}" dt="2025-04-15T15:23:10.442" v="20" actId="20577"/>
          <ac:spMkLst>
            <pc:docMk/>
            <pc:sldMk cId="1310280941" sldId="4193"/>
            <ac:spMk id="38" creationId="{DCC24F0C-3B8E-3EFB-F73F-AD4F90E4EF00}"/>
          </ac:spMkLst>
        </pc:spChg>
        <pc:spChg chg="mod">
          <ac:chgData name="Kerstin Müller (Hamburg Port Authority AöR)" userId="S::kerstin.mueller_hpa.hamburg.de#ext#@fhhinfra.onmicrosoft.com::4a9410fc-619c-4e33-a753-a4d73ec6f1a8" providerId="AD" clId="Web-{498EBCE8-6A5B-C2BC-ECD9-6B3BBAA73CDE}" dt="2025-04-15T15:18:51.949" v="13" actId="20577"/>
          <ac:spMkLst>
            <pc:docMk/>
            <pc:sldMk cId="1310280941" sldId="4193"/>
            <ac:spMk id="40" creationId="{72191F97-392B-0D25-D9C5-083BFA20DA29}"/>
          </ac:spMkLst>
        </pc:spChg>
      </pc:sldChg>
      <pc:sldChg chg="modSp">
        <pc:chgData name="Kerstin Müller (Hamburg Port Authority AöR)" userId="S::kerstin.mueller_hpa.hamburg.de#ext#@fhhinfra.onmicrosoft.com::4a9410fc-619c-4e33-a753-a4d73ec6f1a8" providerId="AD" clId="Web-{498EBCE8-6A5B-C2BC-ECD9-6B3BBAA73CDE}" dt="2025-04-15T15:57:30.444" v="183" actId="20577"/>
        <pc:sldMkLst>
          <pc:docMk/>
          <pc:sldMk cId="2757431154" sldId="4195"/>
        </pc:sldMkLst>
        <pc:spChg chg="mod">
          <ac:chgData name="Kerstin Müller (Hamburg Port Authority AöR)" userId="S::kerstin.mueller_hpa.hamburg.de#ext#@fhhinfra.onmicrosoft.com::4a9410fc-619c-4e33-a753-a4d73ec6f1a8" providerId="AD" clId="Web-{498EBCE8-6A5B-C2BC-ECD9-6B3BBAA73CDE}" dt="2025-04-15T15:57:30.444" v="183" actId="20577"/>
          <ac:spMkLst>
            <pc:docMk/>
            <pc:sldMk cId="2757431154" sldId="4195"/>
            <ac:spMk id="100" creationId="{DB5D9308-2278-79AA-65D7-9500E074700A}"/>
          </ac:spMkLst>
        </pc:spChg>
        <pc:spChg chg="mod">
          <ac:chgData name="Kerstin Müller (Hamburg Port Authority AöR)" userId="S::kerstin.mueller_hpa.hamburg.de#ext#@fhhinfra.onmicrosoft.com::4a9410fc-619c-4e33-a753-a4d73ec6f1a8" providerId="AD" clId="Web-{498EBCE8-6A5B-C2BC-ECD9-6B3BBAA73CDE}" dt="2025-04-15T15:56:19.426" v="145" actId="20577"/>
          <ac:spMkLst>
            <pc:docMk/>
            <pc:sldMk cId="2757431154" sldId="4195"/>
            <ac:spMk id="115" creationId="{F637BE52-DFA6-E83C-85EB-9A1981BD4EAA}"/>
          </ac:spMkLst>
        </pc:spChg>
        <pc:spChg chg="mod">
          <ac:chgData name="Kerstin Müller (Hamburg Port Authority AöR)" userId="S::kerstin.mueller_hpa.hamburg.de#ext#@fhhinfra.onmicrosoft.com::4a9410fc-619c-4e33-a753-a4d73ec6f1a8" providerId="AD" clId="Web-{498EBCE8-6A5B-C2BC-ECD9-6B3BBAA73CDE}" dt="2025-04-15T15:24:43.992" v="37" actId="1076"/>
          <ac:spMkLst>
            <pc:docMk/>
            <pc:sldMk cId="2757431154" sldId="4195"/>
            <ac:spMk id="117" creationId="{121F280D-9353-2C32-8FBE-68F78FFE616A}"/>
          </ac:spMkLst>
        </pc:spChg>
        <pc:spChg chg="mod">
          <ac:chgData name="Kerstin Müller (Hamburg Port Authority AöR)" userId="S::kerstin.mueller_hpa.hamburg.de#ext#@fhhinfra.onmicrosoft.com::4a9410fc-619c-4e33-a753-a4d73ec6f1a8" providerId="AD" clId="Web-{498EBCE8-6A5B-C2BC-ECD9-6B3BBAA73CDE}" dt="2025-04-15T15:38:30.221" v="105" actId="20577"/>
          <ac:spMkLst>
            <pc:docMk/>
            <pc:sldMk cId="2757431154" sldId="4195"/>
            <ac:spMk id="123" creationId="{2061D0C1-0090-2F95-778A-36EAADEB9CCA}"/>
          </ac:spMkLst>
        </pc:spChg>
      </pc:sldChg>
      <pc:sldChg chg="ord">
        <pc:chgData name="Kerstin Müller (Hamburg Port Authority AöR)" userId="S::kerstin.mueller_hpa.hamburg.de#ext#@fhhinfra.onmicrosoft.com::4a9410fc-619c-4e33-a753-a4d73ec6f1a8" providerId="AD" clId="Web-{498EBCE8-6A5B-C2BC-ECD9-6B3BBAA73CDE}" dt="2025-04-15T15:47:26.847" v="134"/>
        <pc:sldMkLst>
          <pc:docMk/>
          <pc:sldMk cId="4100352293" sldId="4198"/>
        </pc:sldMkLst>
      </pc:sldChg>
    </pc:docChg>
  </pc:docChgLst>
  <pc:docChgLst>
    <pc:chgData name="Ryterski Finn (HNE US-MI-PB-BO)" userId="S::finn.ryterski@hamburger-energienetze.de::efff052d-68b9-4e8d-b65b-45dff653056d" providerId="AD" clId="Web-{89E41BD5-FF11-A5F1-6FA1-E1FF5A0236D8}"/>
    <pc:docChg chg="delSld modSld modSection">
      <pc:chgData name="Ryterski Finn (HNE US-MI-PB-BO)" userId="S::finn.ryterski@hamburger-energienetze.de::efff052d-68b9-4e8d-b65b-45dff653056d" providerId="AD" clId="Web-{89E41BD5-FF11-A5F1-6FA1-E1FF5A0236D8}" dt="2025-04-15T11:06:56.889" v="46" actId="1076"/>
      <pc:docMkLst>
        <pc:docMk/>
      </pc:docMkLst>
      <pc:sldChg chg="modSp">
        <pc:chgData name="Ryterski Finn (HNE US-MI-PB-BO)" userId="S::finn.ryterski@hamburger-energienetze.de::efff052d-68b9-4e8d-b65b-45dff653056d" providerId="AD" clId="Web-{89E41BD5-FF11-A5F1-6FA1-E1FF5A0236D8}" dt="2025-04-15T11:06:56.889" v="46" actId="1076"/>
        <pc:sldMkLst>
          <pc:docMk/>
          <pc:sldMk cId="1310280941" sldId="4193"/>
        </pc:sldMkLst>
        <pc:spChg chg="mod">
          <ac:chgData name="Ryterski Finn (HNE US-MI-PB-BO)" userId="S::finn.ryterski@hamburger-energienetze.de::efff052d-68b9-4e8d-b65b-45dff653056d" providerId="AD" clId="Web-{89E41BD5-FF11-A5F1-6FA1-E1FF5A0236D8}" dt="2025-04-15T11:05:19.871" v="3" actId="1076"/>
          <ac:spMkLst>
            <pc:docMk/>
            <pc:sldMk cId="1310280941" sldId="4193"/>
            <ac:spMk id="47" creationId="{455D88D3-86D7-AFC5-5D2E-6F7ACB134936}"/>
          </ac:spMkLst>
        </pc:spChg>
        <pc:grpChg chg="mod">
          <ac:chgData name="Ryterski Finn (HNE US-MI-PB-BO)" userId="S::finn.ryterski@hamburger-energienetze.de::efff052d-68b9-4e8d-b65b-45dff653056d" providerId="AD" clId="Web-{89E41BD5-FF11-A5F1-6FA1-E1FF5A0236D8}" dt="2025-04-15T11:06:56.889" v="46" actId="1076"/>
          <ac:grpSpMkLst>
            <pc:docMk/>
            <pc:sldMk cId="1310280941" sldId="4193"/>
            <ac:grpSpMk id="20" creationId="{164C8E89-271C-7BB4-09A3-3AB6FCDF652C}"/>
          </ac:grpSpMkLst>
        </pc:grpChg>
        <pc:picChg chg="mod">
          <ac:chgData name="Ryterski Finn (HNE US-MI-PB-BO)" userId="S::finn.ryterski@hamburger-energienetze.de::efff052d-68b9-4e8d-b65b-45dff653056d" providerId="AD" clId="Web-{89E41BD5-FF11-A5F1-6FA1-E1FF5A0236D8}" dt="2025-04-15T11:06:28.154" v="35" actId="1076"/>
          <ac:picMkLst>
            <pc:docMk/>
            <pc:sldMk cId="1310280941" sldId="4193"/>
            <ac:picMk id="22" creationId="{194F8CA7-76CC-9F41-9641-5AA2A4D6E406}"/>
          </ac:picMkLst>
        </pc:picChg>
        <pc:picChg chg="mod">
          <ac:chgData name="Ryterski Finn (HNE US-MI-PB-BO)" userId="S::finn.ryterski@hamburger-energienetze.de::efff052d-68b9-4e8d-b65b-45dff653056d" providerId="AD" clId="Web-{89E41BD5-FF11-A5F1-6FA1-E1FF5A0236D8}" dt="2025-04-15T11:06:19.044" v="31" actId="1076"/>
          <ac:picMkLst>
            <pc:docMk/>
            <pc:sldMk cId="1310280941" sldId="4193"/>
            <ac:picMk id="23" creationId="{F18D2BD2-7D24-99B1-3B75-DFE02D703E82}"/>
          </ac:picMkLst>
        </pc:picChg>
        <pc:picChg chg="mod">
          <ac:chgData name="Ryterski Finn (HNE US-MI-PB-BO)" userId="S::finn.ryterski@hamburger-energienetze.de::efff052d-68b9-4e8d-b65b-45dff653056d" providerId="AD" clId="Web-{89E41BD5-FF11-A5F1-6FA1-E1FF5A0236D8}" dt="2025-04-15T11:05:33.403" v="10" actId="1076"/>
          <ac:picMkLst>
            <pc:docMk/>
            <pc:sldMk cId="1310280941" sldId="4193"/>
            <ac:picMk id="36" creationId="{A155433F-C787-FD19-748C-D00F1C5254BE}"/>
          </ac:picMkLst>
        </pc:picChg>
        <pc:picChg chg="mod">
          <ac:chgData name="Ryterski Finn (HNE US-MI-PB-BO)" userId="S::finn.ryterski@hamburger-energienetze.de::efff052d-68b9-4e8d-b65b-45dff653056d" providerId="AD" clId="Web-{89E41BD5-FF11-A5F1-6FA1-E1FF5A0236D8}" dt="2025-04-15T11:05:35.825" v="12" actId="1076"/>
          <ac:picMkLst>
            <pc:docMk/>
            <pc:sldMk cId="1310280941" sldId="4193"/>
            <ac:picMk id="45" creationId="{38812105-3299-595F-FE64-4F57B626679F}"/>
          </ac:picMkLst>
        </pc:picChg>
        <pc:picChg chg="mod">
          <ac:chgData name="Ryterski Finn (HNE US-MI-PB-BO)" userId="S::finn.ryterski@hamburger-energienetze.de::efff052d-68b9-4e8d-b65b-45dff653056d" providerId="AD" clId="Web-{89E41BD5-FF11-A5F1-6FA1-E1FF5A0236D8}" dt="2025-04-15T11:05:19.887" v="4" actId="1076"/>
          <ac:picMkLst>
            <pc:docMk/>
            <pc:sldMk cId="1310280941" sldId="4193"/>
            <ac:picMk id="48" creationId="{8D1CE944-88FC-1F86-A098-B7BB8300285C}"/>
          </ac:picMkLst>
        </pc:picChg>
      </pc:sldChg>
      <pc:sldChg chg="modSp">
        <pc:chgData name="Ryterski Finn (HNE US-MI-PB-BO)" userId="S::finn.ryterski@hamburger-energienetze.de::efff052d-68b9-4e8d-b65b-45dff653056d" providerId="AD" clId="Web-{89E41BD5-FF11-A5F1-6FA1-E1FF5A0236D8}" dt="2025-04-15T10:49:29.935" v="1" actId="14100"/>
        <pc:sldMkLst>
          <pc:docMk/>
          <pc:sldMk cId="59272881" sldId="4197"/>
        </pc:sldMkLst>
        <pc:spChg chg="mod">
          <ac:chgData name="Ryterski Finn (HNE US-MI-PB-BO)" userId="S::finn.ryterski@hamburger-energienetze.de::efff052d-68b9-4e8d-b65b-45dff653056d" providerId="AD" clId="Web-{89E41BD5-FF11-A5F1-6FA1-E1FF5A0236D8}" dt="2025-04-15T10:49:29.935" v="1" actId="14100"/>
          <ac:spMkLst>
            <pc:docMk/>
            <pc:sldMk cId="59272881" sldId="4197"/>
            <ac:spMk id="23" creationId="{D1338B18-81A2-FF57-801D-FA5A76678A00}"/>
          </ac:spMkLst>
        </pc:spChg>
      </pc:sldChg>
      <pc:sldChg chg="del">
        <pc:chgData name="Ryterski Finn (HNE US-MI-PB-BO)" userId="S::finn.ryterski@hamburger-energienetze.de::efff052d-68b9-4e8d-b65b-45dff653056d" providerId="AD" clId="Web-{89E41BD5-FF11-A5F1-6FA1-E1FF5A0236D8}" dt="2025-04-15T10:55:36.675" v="2"/>
        <pc:sldMkLst>
          <pc:docMk/>
          <pc:sldMk cId="1644342985" sldId="2147474033"/>
        </pc:sldMkLst>
      </pc:sldChg>
    </pc:docChg>
  </pc:docChgLst>
  <pc:docChgLst>
    <pc:chgData name="Gevekoth, Helge" userId="785c3c7b-a951-41cd-b625-9fb952db6fd1" providerId="ADAL" clId="{9735D641-70C3-4A5D-8550-BC892F94A129}"/>
    <pc:docChg chg="sldOrd">
      <pc:chgData name="Gevekoth, Helge" userId="785c3c7b-a951-41cd-b625-9fb952db6fd1" providerId="ADAL" clId="{9735D641-70C3-4A5D-8550-BC892F94A129}" dt="2025-04-15T17:55:27.564" v="0" actId="20578"/>
      <pc:docMkLst>
        <pc:docMk/>
      </pc:docMkLst>
      <pc:sldChg chg="ord">
        <pc:chgData name="Gevekoth, Helge" userId="785c3c7b-a951-41cd-b625-9fb952db6fd1" providerId="ADAL" clId="{9735D641-70C3-4A5D-8550-BC892F94A129}" dt="2025-04-15T17:55:27.564" v="0" actId="20578"/>
        <pc:sldMkLst>
          <pc:docMk/>
          <pc:sldMk cId="1310280941" sldId="4193"/>
        </pc:sldMkLst>
      </pc:sldChg>
    </pc:docChg>
  </pc:docChgLst>
  <pc:docChgLst>
    <pc:chgData name="Ryterski Finn (HNE US-MI-PB-BO)" userId="S::finn.ryterski@hamburger-energienetze.de::efff052d-68b9-4e8d-b65b-45dff653056d" providerId="AD" clId="Web-{DD26A818-590F-0524-5D4A-1FE3026A2651}"/>
    <pc:docChg chg="modSld">
      <pc:chgData name="Ryterski Finn (HNE US-MI-PB-BO)" userId="S::finn.ryterski@hamburger-energienetze.de::efff052d-68b9-4e8d-b65b-45dff653056d" providerId="AD" clId="Web-{DD26A818-590F-0524-5D4A-1FE3026A2651}" dt="2025-04-15T11:57:34.618" v="2" actId="14100"/>
      <pc:docMkLst>
        <pc:docMk/>
      </pc:docMkLst>
      <pc:sldChg chg="modSp">
        <pc:chgData name="Ryterski Finn (HNE US-MI-PB-BO)" userId="S::finn.ryterski@hamburger-energienetze.de::efff052d-68b9-4e8d-b65b-45dff653056d" providerId="AD" clId="Web-{DD26A818-590F-0524-5D4A-1FE3026A2651}" dt="2025-04-15T11:57:34.618" v="2" actId="14100"/>
        <pc:sldMkLst>
          <pc:docMk/>
          <pc:sldMk cId="1310280941" sldId="4193"/>
        </pc:sldMkLst>
        <pc:spChg chg="mod">
          <ac:chgData name="Ryterski Finn (HNE US-MI-PB-BO)" userId="S::finn.ryterski@hamburger-energienetze.de::efff052d-68b9-4e8d-b65b-45dff653056d" providerId="AD" clId="Web-{DD26A818-590F-0524-5D4A-1FE3026A2651}" dt="2025-04-15T11:57:27.243" v="1" actId="14100"/>
          <ac:spMkLst>
            <pc:docMk/>
            <pc:sldMk cId="1310280941" sldId="4193"/>
            <ac:spMk id="21" creationId="{69915DC8-10D1-2E7E-B895-35FF80C34971}"/>
          </ac:spMkLst>
        </pc:spChg>
        <pc:grpChg chg="mod">
          <ac:chgData name="Ryterski Finn (HNE US-MI-PB-BO)" userId="S::finn.ryterski@hamburger-energienetze.de::efff052d-68b9-4e8d-b65b-45dff653056d" providerId="AD" clId="Web-{DD26A818-590F-0524-5D4A-1FE3026A2651}" dt="2025-04-15T11:57:34.618" v="2" actId="14100"/>
          <ac:grpSpMkLst>
            <pc:docMk/>
            <pc:sldMk cId="1310280941" sldId="4193"/>
            <ac:grpSpMk id="20" creationId="{164C8E89-271C-7BB4-09A3-3AB6FCDF652C}"/>
          </ac:grpSpMkLst>
        </pc:gr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DD8AF8-2E56-4547-84F9-96057233AD14}" type="datetimeFigureOut">
              <a:rPr lang="en-GB" smtClean="0"/>
              <a:t>16/04/2025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FC58F0-E75D-4808-B697-027AE36503B0}" type="slidenum">
              <a:rPr lang="en-GB" smtClean="0"/>
              <a:t>‹#›</a:t>
            </a:fld>
            <a:endParaRPr lang="en-GB"/>
          </a:p>
        </p:txBody>
      </p:sp>
      <p:sp>
        <p:nvSpPr>
          <p:cNvPr id="6" name="Kopfzeilenplatzhalt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5595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48D5E8-D97F-4DA3-9E02-1D4E7239C906}" type="datetimeFigureOut">
              <a:rPr lang="de-DE" smtClean="0"/>
              <a:t>16.04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EEAA9B-7186-463C-842C-219271E6567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2022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38C4B74-335F-4A14-AA2B-C4DEE4C0736C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11733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67837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57831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jpe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jpe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2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image" Target="../media/image18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8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19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openxmlformats.org/officeDocument/2006/relationships/image" Target="../media/image23.jpeg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19.emf"/><Relationship Id="rId4" Type="http://schemas.openxmlformats.org/officeDocument/2006/relationships/image" Target="../media/image21.em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nur_Hamburg_Logo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Bildplatzhalter 5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3715200"/>
          </a:xfrm>
          <a:custGeom>
            <a:avLst/>
            <a:gdLst>
              <a:gd name="connsiteX0" fmla="*/ 0 w 9144000"/>
              <a:gd name="connsiteY0" fmla="*/ 0 h 3715200"/>
              <a:gd name="connsiteX1" fmla="*/ 9144000 w 9144000"/>
              <a:gd name="connsiteY1" fmla="*/ 0 h 3715200"/>
              <a:gd name="connsiteX2" fmla="*/ 9144000 w 9144000"/>
              <a:gd name="connsiteY2" fmla="*/ 3715200 h 3715200"/>
              <a:gd name="connsiteX3" fmla="*/ 5935980 w 9144000"/>
              <a:gd name="connsiteY3" fmla="*/ 3715200 h 3715200"/>
              <a:gd name="connsiteX4" fmla="*/ 5164968 w 9144000"/>
              <a:gd name="connsiteY4" fmla="*/ 3715200 h 3715200"/>
              <a:gd name="connsiteX5" fmla="*/ 1624358 w 9144000"/>
              <a:gd name="connsiteY5" fmla="*/ 3715200 h 3715200"/>
              <a:gd name="connsiteX6" fmla="*/ 1624358 w 9144000"/>
              <a:gd name="connsiteY6" fmla="*/ 3715200 h 3715200"/>
              <a:gd name="connsiteX7" fmla="*/ 1784351 w 9144000"/>
              <a:gd name="connsiteY7" fmla="*/ 3480152 h 3715200"/>
              <a:gd name="connsiteX8" fmla="*/ 1152128 w 9144000"/>
              <a:gd name="connsiteY8" fmla="*/ 3480152 h 3715200"/>
              <a:gd name="connsiteX9" fmla="*/ 1060429 w 9144000"/>
              <a:gd name="connsiteY9" fmla="*/ 3480152 h 3715200"/>
              <a:gd name="connsiteX10" fmla="*/ 1004494 w 9144000"/>
              <a:gd name="connsiteY10" fmla="*/ 3480152 h 3715200"/>
              <a:gd name="connsiteX11" fmla="*/ 80844 w 9144000"/>
              <a:gd name="connsiteY11" fmla="*/ 3480152 h 3715200"/>
              <a:gd name="connsiteX12" fmla="*/ 0 w 9144000"/>
              <a:gd name="connsiteY12" fmla="*/ 3480152 h 3715200"/>
              <a:gd name="connsiteX13" fmla="*/ 0 w 9144000"/>
              <a:gd name="connsiteY13" fmla="*/ 3473421 h 3715200"/>
              <a:gd name="connsiteX14" fmla="*/ 0 w 9144000"/>
              <a:gd name="connsiteY14" fmla="*/ 2689257 h 3715200"/>
              <a:gd name="connsiteX15" fmla="*/ 0 w 9144000"/>
              <a:gd name="connsiteY15" fmla="*/ 225978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44000" h="3715200">
                <a:moveTo>
                  <a:pt x="0" y="0"/>
                </a:moveTo>
                <a:lnTo>
                  <a:pt x="9144000" y="0"/>
                </a:lnTo>
                <a:lnTo>
                  <a:pt x="9144000" y="3715200"/>
                </a:lnTo>
                <a:lnTo>
                  <a:pt x="5935980" y="3715200"/>
                </a:lnTo>
                <a:lnTo>
                  <a:pt x="5164968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2689257"/>
                </a:lnTo>
                <a:lnTo>
                  <a:pt x="0" y="225978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2000" tIns="72000" rIns="252000" bIns="216000" anchor="b">
            <a:noAutofit/>
          </a:bodyPr>
          <a:lstStyle>
            <a:lvl1pPr algn="r">
              <a:spcBef>
                <a:spcPts val="0"/>
              </a:spcBef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Um das Hintergrundbild einzufügen, markieren Sie </a:t>
            </a:r>
            <a:br>
              <a:rPr lang="de-DE"/>
            </a:br>
            <a:r>
              <a:rPr lang="de-DE"/>
              <a:t>bitte den grauen Platzhalter und wählen dann ein Bild </a:t>
            </a:r>
            <a:br>
              <a:rPr lang="de-DE"/>
            </a:br>
            <a:r>
              <a:rPr lang="de-DE"/>
              <a:t>über den Reiter „Einfügen“, „Grafik“ aus. </a:t>
            </a:r>
            <a:r>
              <a:rPr lang="de-DE" noProof="0"/>
              <a:t>Bitte nach </a:t>
            </a:r>
            <a:br>
              <a:rPr lang="de-DE" noProof="0"/>
            </a:br>
            <a:r>
              <a:rPr lang="de-DE" noProof="0"/>
              <a:t>Einfügen des Bildes das Bild in den Hintergrund legen.</a:t>
            </a:r>
            <a:endParaRPr lang="de-DE"/>
          </a:p>
        </p:txBody>
      </p:sp>
      <p:sp>
        <p:nvSpPr>
          <p:cNvPr id="29" name="Rechteck 28"/>
          <p:cNvSpPr/>
          <p:nvPr userDrawn="1"/>
        </p:nvSpPr>
        <p:spPr>
          <a:xfrm>
            <a:off x="0" y="3715200"/>
            <a:ext cx="9144000" cy="14283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Freihandform 29"/>
          <p:cNvSpPr>
            <a:spLocks noChangeAspect="1"/>
          </p:cNvSpPr>
          <p:nvPr userDrawn="1"/>
        </p:nvSpPr>
        <p:spPr bwMode="gray">
          <a:xfrm>
            <a:off x="0" y="3480152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59531" y="1289606"/>
            <a:ext cx="7428619" cy="637849"/>
          </a:xfrm>
          <a:solidFill>
            <a:schemeClr val="bg1"/>
          </a:solidFill>
        </p:spPr>
        <p:txBody>
          <a:bodyPr wrap="none" lIns="72000" tIns="72000" rIns="72000" bIns="72000"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3200" baseline="0"/>
            </a:lvl1pPr>
          </a:lstStyle>
          <a:p>
            <a:r>
              <a:rPr lang="de-DE"/>
              <a:t>Titel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59532" y="2821553"/>
            <a:ext cx="4021467" cy="453183"/>
          </a:xfrm>
          <a:solidFill>
            <a:schemeClr val="bg1"/>
          </a:solidFill>
        </p:spPr>
        <p:txBody>
          <a:bodyPr wrap="none" lIns="72000" tIns="72000" rIns="72000" bIns="7200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cap="none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Untertitel durch klicken bearbeiten</a:t>
            </a:r>
            <a:endParaRPr lang="en-US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4691340"/>
            <a:ext cx="4465638" cy="184666"/>
          </a:xfrm>
        </p:spPr>
        <p:txBody>
          <a:bodyPr/>
          <a:lstStyle>
            <a:lvl1pPr>
              <a:spcBef>
                <a:spcPts val="0"/>
              </a:spcBef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Datum  |  Ort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2" name="Freihandform 11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1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713810" y="3525428"/>
            <a:ext cx="4172056" cy="195814"/>
          </a:xfrm>
        </p:spPr>
        <p:txBody>
          <a:bodyPr tIns="36000" rIns="0" bIns="36000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Quellenangabe Fotonachweis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59531" y="523632"/>
            <a:ext cx="7428619" cy="637849"/>
          </a:xfrm>
          <a:solidFill>
            <a:schemeClr val="bg1"/>
          </a:solidFill>
        </p:spPr>
        <p:txBody>
          <a:bodyPr wrap="none" lIns="72000" tIns="72000" rIns="72000" bIns="72000"/>
          <a:lstStyle>
            <a:lvl1pPr>
              <a:defRPr sz="3200" b="0" cap="all" baseline="0"/>
            </a:lvl1pPr>
          </a:lstStyle>
          <a:p>
            <a:pPr lvl="0"/>
            <a:r>
              <a:rPr lang="de-DE"/>
              <a:t>Titel durch Klicken bearbeiten</a:t>
            </a:r>
            <a:endParaRPr lang="en-GB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59531" y="2055580"/>
            <a:ext cx="7428619" cy="637849"/>
          </a:xfrm>
          <a:solidFill>
            <a:schemeClr val="bg1"/>
          </a:solidFill>
        </p:spPr>
        <p:txBody>
          <a:bodyPr wrap="none" lIns="72000" tIns="72000" rIns="72000" bIns="72000"/>
          <a:lstStyle>
            <a:lvl1pPr>
              <a:defRPr sz="3200" b="0" cap="all" baseline="0"/>
            </a:lvl1pPr>
          </a:lstStyle>
          <a:p>
            <a:pPr lvl="0"/>
            <a:r>
              <a:rPr lang="de-DE"/>
              <a:t>Titel durch Klicken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41432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2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716462" y="1110450"/>
            <a:ext cx="4176713" cy="137473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/>
              <a:t>Hier kann bei Bedarf eine Quelle eingefügt werden</a:t>
            </a:r>
            <a:endParaRPr lang="en-GB"/>
          </a:p>
        </p:txBody>
      </p:sp>
      <p:sp>
        <p:nvSpPr>
          <p:cNvPr id="10" name="Textfeld 9"/>
          <p:cNvSpPr txBox="1"/>
          <p:nvPr userDrawn="1"/>
        </p:nvSpPr>
        <p:spPr>
          <a:xfrm>
            <a:off x="4716462" y="4516438"/>
            <a:ext cx="4176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algn="r">
              <a:spcBef>
                <a:spcPts val="1200"/>
              </a:spcBef>
              <a:buFont typeface="Arial" pitchFamily="34" charset="0"/>
              <a:buNone/>
              <a:defRPr sz="800" b="0" cap="none" baseline="0">
                <a:solidFill>
                  <a:schemeClr val="bg2"/>
                </a:solidFill>
              </a:defRPr>
            </a:lvl1pPr>
            <a:lvl2pPr marL="0" indent="0">
              <a:spcBef>
                <a:spcPts val="800"/>
              </a:spcBef>
              <a:buFont typeface="Arial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269875" indent="-269875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538163" indent="-268288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808038" indent="-269875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/>
            <a:r>
              <a:rPr lang="de-DE">
                <a:solidFill>
                  <a:schemeClr val="accent5"/>
                </a:solidFill>
              </a:rPr>
              <a:t>www.mediaserver.hamburg.de / Jörg Modrow</a:t>
            </a:r>
          </a:p>
        </p:txBody>
      </p:sp>
    </p:spTree>
    <p:extLst>
      <p:ext uri="{BB962C8B-B14F-4D97-AF65-F5344CB8AC3E}">
        <p14:creationId xmlns:p14="http://schemas.microsoft.com/office/powerpoint/2010/main" val="14287202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3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716462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/>
              <a:t>Hier kann bei Bedarf eine Quelle eingefügt werden</a:t>
            </a:r>
            <a:endParaRPr lang="en-GB"/>
          </a:p>
        </p:txBody>
      </p:sp>
      <p:sp>
        <p:nvSpPr>
          <p:cNvPr id="10" name="Textfeld 9"/>
          <p:cNvSpPr txBox="1"/>
          <p:nvPr userDrawn="1"/>
        </p:nvSpPr>
        <p:spPr>
          <a:xfrm>
            <a:off x="4716462" y="4516438"/>
            <a:ext cx="4176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algn="r">
              <a:spcBef>
                <a:spcPts val="1200"/>
              </a:spcBef>
              <a:buFont typeface="Arial" pitchFamily="34" charset="0"/>
              <a:buNone/>
              <a:defRPr sz="800" b="0" cap="none" baseline="0">
                <a:solidFill>
                  <a:schemeClr val="bg2"/>
                </a:solidFill>
              </a:defRPr>
            </a:lvl1pPr>
            <a:lvl2pPr marL="0" indent="0">
              <a:spcBef>
                <a:spcPts val="800"/>
              </a:spcBef>
              <a:buFont typeface="Arial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269875" indent="-269875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538163" indent="-268288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808038" indent="-269875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800">
                <a:solidFill>
                  <a:schemeClr val="accent5"/>
                </a:solidFill>
              </a:rPr>
              <a:t>www.mediaserver.hamburg.de / Michael Zapf</a:t>
            </a:r>
          </a:p>
        </p:txBody>
      </p:sp>
    </p:spTree>
    <p:extLst>
      <p:ext uri="{BB962C8B-B14F-4D97-AF65-F5344CB8AC3E}">
        <p14:creationId xmlns:p14="http://schemas.microsoft.com/office/powerpoint/2010/main" val="18547578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4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solidFill>
            <a:schemeClr val="bg2"/>
          </a:solidFill>
        </p:spPr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716462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/>
              <a:t>Hier kann bei Bedarf eine Quelle eingefügt werden</a:t>
            </a:r>
            <a:endParaRPr lang="en-GB"/>
          </a:p>
        </p:txBody>
      </p:sp>
      <p:sp>
        <p:nvSpPr>
          <p:cNvPr id="10" name="Textfeld 9"/>
          <p:cNvSpPr txBox="1"/>
          <p:nvPr userDrawn="1"/>
        </p:nvSpPr>
        <p:spPr>
          <a:xfrm>
            <a:off x="4716462" y="4516438"/>
            <a:ext cx="4176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algn="r">
              <a:spcBef>
                <a:spcPts val="1200"/>
              </a:spcBef>
              <a:buFont typeface="Arial" pitchFamily="34" charset="0"/>
              <a:buNone/>
              <a:defRPr sz="800" b="0" cap="none" baseline="0">
                <a:solidFill>
                  <a:schemeClr val="bg2"/>
                </a:solidFill>
              </a:defRPr>
            </a:lvl1pPr>
            <a:lvl2pPr marL="0" indent="0">
              <a:spcBef>
                <a:spcPts val="800"/>
              </a:spcBef>
              <a:buFont typeface="Arial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269875" indent="-269875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538163" indent="-268288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808038" indent="-269875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800">
                <a:solidFill>
                  <a:schemeClr val="accent5"/>
                </a:solidFill>
              </a:rPr>
              <a:t>www.mediaserver.hamburg.de / Datenland Architektursimulation / Erik Recke</a:t>
            </a:r>
          </a:p>
        </p:txBody>
      </p:sp>
    </p:spTree>
    <p:extLst>
      <p:ext uri="{BB962C8B-B14F-4D97-AF65-F5344CB8AC3E}">
        <p14:creationId xmlns:p14="http://schemas.microsoft.com/office/powerpoint/2010/main" val="7465609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5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716462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/>
              <a:t>Hier kann bei Bedarf eine Quelle eingefügt werden</a:t>
            </a:r>
            <a:endParaRPr lang="en-GB"/>
          </a:p>
        </p:txBody>
      </p:sp>
      <p:sp>
        <p:nvSpPr>
          <p:cNvPr id="10" name="Textfeld 9"/>
          <p:cNvSpPr txBox="1"/>
          <p:nvPr userDrawn="1"/>
        </p:nvSpPr>
        <p:spPr>
          <a:xfrm>
            <a:off x="4716462" y="4516438"/>
            <a:ext cx="4176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algn="r">
              <a:spcBef>
                <a:spcPts val="1200"/>
              </a:spcBef>
              <a:buFont typeface="Arial" pitchFamily="34" charset="0"/>
              <a:buNone/>
              <a:defRPr sz="800" b="0" cap="none" baseline="0">
                <a:solidFill>
                  <a:schemeClr val="bg2"/>
                </a:solidFill>
              </a:defRPr>
            </a:lvl1pPr>
            <a:lvl2pPr marL="0" indent="0">
              <a:spcBef>
                <a:spcPts val="800"/>
              </a:spcBef>
              <a:buFont typeface="Arial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269875" indent="-269875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538163" indent="-268288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808038" indent="-269875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800">
                <a:solidFill>
                  <a:schemeClr val="accent5"/>
                </a:solidFill>
              </a:rPr>
              <a:t>www.mediaserver.hamburg.de / Andreas Vallbracht</a:t>
            </a:r>
          </a:p>
        </p:txBody>
      </p:sp>
    </p:spTree>
    <p:extLst>
      <p:ext uri="{BB962C8B-B14F-4D97-AF65-F5344CB8AC3E}">
        <p14:creationId xmlns:p14="http://schemas.microsoft.com/office/powerpoint/2010/main" val="26139435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inks /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4716463" y="1166812"/>
            <a:ext cx="4176712" cy="3349625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4176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/>
              <a:t>Hier kann bei Bedarf eine Quelle eingefügt werd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52879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/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720197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711547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8775" y="1166812"/>
            <a:ext cx="4176712" cy="3349625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12260" y="4393327"/>
            <a:ext cx="4176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/>
              <a:t>Hier kann bei Bedarf eine Quelle eingefügt werd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35637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oben / Text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720197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2879330"/>
            <a:ext cx="8534400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8775" y="1166812"/>
            <a:ext cx="8534400" cy="1548953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/>
              <a:t>Hier kann bei Bedarf eine Quelle eingefügt werd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35679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/ Text +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4716463" y="1166812"/>
            <a:ext cx="4176712" cy="2340000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/>
              <a:t>Hier kann bei Bedarf eine Quelle eingefügt werd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857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/ Bild +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720197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711547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8775" y="1166812"/>
            <a:ext cx="4176712" cy="2340000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/>
              <a:t>Hier kann bei Bedarf eine Quelle eingefügt werd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76683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8534400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/>
              <a:t>Hier kann bei Bedarf eine Quelle eingefügt werd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33764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3996188"/>
            <a:ext cx="9144000" cy="11473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979612" y="206438"/>
            <a:ext cx="6906253" cy="400110"/>
          </a:xfrm>
        </p:spPr>
        <p:txBody>
          <a:bodyPr/>
          <a:lstStyle>
            <a:lvl1pPr>
              <a:spcBef>
                <a:spcPts val="0"/>
              </a:spcBef>
              <a:defRPr sz="26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979712" y="843558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1</a:t>
            </a:r>
            <a:endParaRPr lang="en-US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979712" y="1304409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2</a:t>
            </a:r>
            <a:endParaRPr lang="en-US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979712" y="1765260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3</a:t>
            </a:r>
            <a:endParaRPr lang="en-US"/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979712" y="2226111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4</a:t>
            </a:r>
            <a:endParaRPr lang="en-US"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979712" y="2686962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5</a:t>
            </a:r>
            <a:endParaRPr lang="en-US"/>
          </a:p>
        </p:txBody>
      </p:sp>
      <p:sp>
        <p:nvSpPr>
          <p:cNvPr id="17" name="Textplatzhalter 1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979712" y="3147814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6</a:t>
            </a:r>
            <a:endParaRPr lang="en-US"/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447764" y="900448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447764" y="1361299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447764" y="1822150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2447764" y="2283001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2447764" y="2743852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2447764" y="3204704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grpSp>
        <p:nvGrpSpPr>
          <p:cNvPr id="24" name="Gruppieren 23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25" name="Freihandform 24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7" name="Gruppieren 26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28" name="Freihandform 27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" name="Freihandform 28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Freihandform 29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Freihandform 30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2" name="Gruppieren 31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33" name="Freihandform 32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Freihandform 33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5" name="Gruppieren 34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36" name="Freihandform 35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7" name="Freihandform 36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8" name="Freihandform 37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9" name="Freihandform 38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40" name="Freihandform 39"/>
          <p:cNvSpPr>
            <a:spLocks noChangeAspect="1"/>
          </p:cNvSpPr>
          <p:nvPr userDrawn="1"/>
        </p:nvSpPr>
        <p:spPr bwMode="gray">
          <a:xfrm>
            <a:off x="0" y="3746837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C47E6AD9-6620-4B61-2CD6-3C619C26AE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7453" y="4669656"/>
            <a:ext cx="1099800" cy="314561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D9BB9A8E-E495-9F15-2772-D59A7F0034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4930" y="4644194"/>
            <a:ext cx="820827" cy="31013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4DEB82C2-7647-7774-1F92-89C1480F7A6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5148677" y="4650975"/>
            <a:ext cx="1345856" cy="364309"/>
          </a:xfrm>
          <a:prstGeom prst="rect">
            <a:avLst/>
          </a:prstGeom>
        </p:spPr>
      </p:pic>
      <p:pic>
        <p:nvPicPr>
          <p:cNvPr id="5" name="Grafik 4" descr="Ein Bild, das Text, Schrift, Logo, Symbol enthält.&#10;&#10;Automatisch generierte Beschreibung">
            <a:extLst>
              <a:ext uri="{FF2B5EF4-FFF2-40B4-BE49-F238E27FC236}">
                <a16:creationId xmlns:a16="http://schemas.microsoft.com/office/drawing/2014/main" id="{F01C4651-D44C-F1D7-C121-CF758C83EB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838" t="10962" r="13771" b="10540"/>
          <a:stretch/>
        </p:blipFill>
        <p:spPr>
          <a:xfrm>
            <a:off x="8220173" y="4648113"/>
            <a:ext cx="778053" cy="36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594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hne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720197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/>
              <a:t>Hier kann bei Bedarf eine Quelle eingefügt werd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75295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9144000" cy="4778322"/>
          </a:xfrm>
          <a:custGeom>
            <a:avLst/>
            <a:gdLst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595565 w 9144000"/>
              <a:gd name="connsiteY5" fmla="*/ 4643322 h 4778322"/>
              <a:gd name="connsiteX6" fmla="*/ 544621 w 9144000"/>
              <a:gd name="connsiteY6" fmla="*/ 4643322 h 4778322"/>
              <a:gd name="connsiteX7" fmla="*/ 513546 w 9144000"/>
              <a:gd name="connsiteY7" fmla="*/ 4643322 h 4778322"/>
              <a:gd name="connsiteX8" fmla="*/ 407 w 9144000"/>
              <a:gd name="connsiteY8" fmla="*/ 4643322 h 4778322"/>
              <a:gd name="connsiteX9" fmla="*/ 0 w 9144000"/>
              <a:gd name="connsiteY9" fmla="*/ 4643322 h 4778322"/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544621 w 9144000"/>
              <a:gd name="connsiteY5" fmla="*/ 4643322 h 4778322"/>
              <a:gd name="connsiteX6" fmla="*/ 513546 w 9144000"/>
              <a:gd name="connsiteY6" fmla="*/ 4643322 h 4778322"/>
              <a:gd name="connsiteX7" fmla="*/ 407 w 9144000"/>
              <a:gd name="connsiteY7" fmla="*/ 4643322 h 4778322"/>
              <a:gd name="connsiteX8" fmla="*/ 0 w 9144000"/>
              <a:gd name="connsiteY8" fmla="*/ 4643322 h 4778322"/>
              <a:gd name="connsiteX9" fmla="*/ 0 w 9144000"/>
              <a:gd name="connsiteY9" fmla="*/ 0 h 4778322"/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544621 w 9144000"/>
              <a:gd name="connsiteY5" fmla="*/ 4643322 h 4778322"/>
              <a:gd name="connsiteX6" fmla="*/ 407 w 9144000"/>
              <a:gd name="connsiteY6" fmla="*/ 4643322 h 4778322"/>
              <a:gd name="connsiteX7" fmla="*/ 0 w 9144000"/>
              <a:gd name="connsiteY7" fmla="*/ 4643322 h 4778322"/>
              <a:gd name="connsiteX8" fmla="*/ 0 w 9144000"/>
              <a:gd name="connsiteY8" fmla="*/ 0 h 4778322"/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407 w 9144000"/>
              <a:gd name="connsiteY5" fmla="*/ 4643322 h 4778322"/>
              <a:gd name="connsiteX6" fmla="*/ 0 w 9144000"/>
              <a:gd name="connsiteY6" fmla="*/ 4643322 h 4778322"/>
              <a:gd name="connsiteX7" fmla="*/ 0 w 9144000"/>
              <a:gd name="connsiteY7" fmla="*/ 0 h 477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4778322">
                <a:moveTo>
                  <a:pt x="0" y="0"/>
                </a:moveTo>
                <a:lnTo>
                  <a:pt x="9144000" y="0"/>
                </a:lnTo>
                <a:lnTo>
                  <a:pt x="9144000" y="4778322"/>
                </a:lnTo>
                <a:lnTo>
                  <a:pt x="854908" y="4778322"/>
                </a:lnTo>
                <a:lnTo>
                  <a:pt x="946800" y="4643322"/>
                </a:lnTo>
                <a:lnTo>
                  <a:pt x="407" y="4643322"/>
                </a:lnTo>
                <a:lnTo>
                  <a:pt x="0" y="4643322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tIns="72000">
            <a:noAutofit/>
          </a:bodyPr>
          <a:lstStyle>
            <a:lvl1pPr algn="ctr">
              <a:spcBef>
                <a:spcPts val="0"/>
              </a:spcBef>
              <a:defRPr sz="1200" b="0" baseline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das gewünschte Bild einfügen. Bitte nach Einfügen des Bildes das Bild in den Hintergrund legen.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504185" y="766547"/>
            <a:ext cx="3960000" cy="1477328"/>
          </a:xfrm>
        </p:spPr>
        <p:txBody>
          <a:bodyPr/>
          <a:lstStyle>
            <a:lvl1pPr>
              <a:spcBef>
                <a:spcPts val="0"/>
              </a:spcBef>
              <a:defRPr sz="32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 KURZE AUSSAG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16205" y="4516438"/>
            <a:ext cx="4172055" cy="123111"/>
          </a:xfrm>
        </p:spPr>
        <p:txBody>
          <a:bodyPr tIns="0" bIns="0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Quellenangabe Fotonachwei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53942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ildplatzhalter 2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3715200"/>
          </a:xfrm>
          <a:custGeom>
            <a:avLst/>
            <a:gdLst>
              <a:gd name="connsiteX0" fmla="*/ 0 w 9144000"/>
              <a:gd name="connsiteY0" fmla="*/ 0 h 3715200"/>
              <a:gd name="connsiteX1" fmla="*/ 9144000 w 9144000"/>
              <a:gd name="connsiteY1" fmla="*/ 0 h 3715200"/>
              <a:gd name="connsiteX2" fmla="*/ 9144000 w 9144000"/>
              <a:gd name="connsiteY2" fmla="*/ 3715200 h 3715200"/>
              <a:gd name="connsiteX3" fmla="*/ 5935980 w 9144000"/>
              <a:gd name="connsiteY3" fmla="*/ 3715200 h 3715200"/>
              <a:gd name="connsiteX4" fmla="*/ 5164968 w 9144000"/>
              <a:gd name="connsiteY4" fmla="*/ 3715200 h 3715200"/>
              <a:gd name="connsiteX5" fmla="*/ 1624358 w 9144000"/>
              <a:gd name="connsiteY5" fmla="*/ 3715200 h 3715200"/>
              <a:gd name="connsiteX6" fmla="*/ 1624358 w 9144000"/>
              <a:gd name="connsiteY6" fmla="*/ 3715200 h 3715200"/>
              <a:gd name="connsiteX7" fmla="*/ 1784351 w 9144000"/>
              <a:gd name="connsiteY7" fmla="*/ 3480152 h 3715200"/>
              <a:gd name="connsiteX8" fmla="*/ 1152128 w 9144000"/>
              <a:gd name="connsiteY8" fmla="*/ 3480152 h 3715200"/>
              <a:gd name="connsiteX9" fmla="*/ 1060429 w 9144000"/>
              <a:gd name="connsiteY9" fmla="*/ 3480152 h 3715200"/>
              <a:gd name="connsiteX10" fmla="*/ 1004494 w 9144000"/>
              <a:gd name="connsiteY10" fmla="*/ 3480152 h 3715200"/>
              <a:gd name="connsiteX11" fmla="*/ 80844 w 9144000"/>
              <a:gd name="connsiteY11" fmla="*/ 3480152 h 3715200"/>
              <a:gd name="connsiteX12" fmla="*/ 0 w 9144000"/>
              <a:gd name="connsiteY12" fmla="*/ 3480152 h 3715200"/>
              <a:gd name="connsiteX13" fmla="*/ 0 w 9144000"/>
              <a:gd name="connsiteY13" fmla="*/ 3473421 h 3715200"/>
              <a:gd name="connsiteX14" fmla="*/ 0 w 9144000"/>
              <a:gd name="connsiteY14" fmla="*/ 2689257 h 3715200"/>
              <a:gd name="connsiteX15" fmla="*/ 0 w 9144000"/>
              <a:gd name="connsiteY15" fmla="*/ 225978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44000" h="3715200">
                <a:moveTo>
                  <a:pt x="0" y="0"/>
                </a:moveTo>
                <a:lnTo>
                  <a:pt x="9144000" y="0"/>
                </a:lnTo>
                <a:lnTo>
                  <a:pt x="9144000" y="3715200"/>
                </a:lnTo>
                <a:lnTo>
                  <a:pt x="5935980" y="3715200"/>
                </a:lnTo>
                <a:lnTo>
                  <a:pt x="5164968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2689257"/>
                </a:lnTo>
                <a:lnTo>
                  <a:pt x="0" y="225978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2000" tIns="72000" rIns="252000" bIns="216000" anchor="b">
            <a:noAutofit/>
          </a:bodyPr>
          <a:lstStyle>
            <a:lvl1pPr algn="r">
              <a:spcBef>
                <a:spcPts val="0"/>
              </a:spcBef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Um das Hintergrundbild einzufügen, markieren Sie bitte den grauen</a:t>
            </a:r>
            <a:br>
              <a:rPr lang="de-DE"/>
            </a:br>
            <a:r>
              <a:rPr lang="de-DE"/>
              <a:t>Platzhalter und wählen dann ein Bild über den Reiter „Einfügen“, „Grafik“ </a:t>
            </a:r>
            <a:br>
              <a:rPr lang="de-DE"/>
            </a:br>
            <a:r>
              <a:rPr lang="de-DE"/>
              <a:t>aus. </a:t>
            </a:r>
            <a:r>
              <a:rPr lang="de-DE" noProof="0"/>
              <a:t>Bitte nach Einfügen des Bildes das Bild in den Hintergrund legen.</a:t>
            </a:r>
            <a:endParaRPr lang="de-DE"/>
          </a:p>
        </p:txBody>
      </p:sp>
      <p:sp>
        <p:nvSpPr>
          <p:cNvPr id="30" name="Rechteck 29"/>
          <p:cNvSpPr/>
          <p:nvPr userDrawn="1"/>
        </p:nvSpPr>
        <p:spPr>
          <a:xfrm>
            <a:off x="0" y="3723292"/>
            <a:ext cx="9144000" cy="142829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0"/>
            <a:ext cx="5961600" cy="3715200"/>
          </a:xfrm>
          <a:custGeom>
            <a:avLst/>
            <a:gdLst>
              <a:gd name="connsiteX0" fmla="*/ 0 w 5961600"/>
              <a:gd name="connsiteY0" fmla="*/ 0 h 3715200"/>
              <a:gd name="connsiteX1" fmla="*/ 5961600 w 5961600"/>
              <a:gd name="connsiteY1" fmla="*/ 0 h 3715200"/>
              <a:gd name="connsiteX2" fmla="*/ 3805736 w 5961600"/>
              <a:gd name="connsiteY2" fmla="*/ 3170662 h 3715200"/>
              <a:gd name="connsiteX3" fmla="*/ 2852125 w 5961600"/>
              <a:gd name="connsiteY3" fmla="*/ 3715200 h 3715200"/>
              <a:gd name="connsiteX4" fmla="*/ 2346960 w 5961600"/>
              <a:gd name="connsiteY4" fmla="*/ 3715200 h 3715200"/>
              <a:gd name="connsiteX5" fmla="*/ 2301240 w 5961600"/>
              <a:gd name="connsiteY5" fmla="*/ 3715200 h 3715200"/>
              <a:gd name="connsiteX6" fmla="*/ 1624358 w 5961600"/>
              <a:gd name="connsiteY6" fmla="*/ 3715200 h 3715200"/>
              <a:gd name="connsiteX7" fmla="*/ 1624358 w 5961600"/>
              <a:gd name="connsiteY7" fmla="*/ 3715200 h 3715200"/>
              <a:gd name="connsiteX8" fmla="*/ 1784351 w 5961600"/>
              <a:gd name="connsiteY8" fmla="*/ 3480152 h 3715200"/>
              <a:gd name="connsiteX9" fmla="*/ 1152128 w 5961600"/>
              <a:gd name="connsiteY9" fmla="*/ 3480152 h 3715200"/>
              <a:gd name="connsiteX10" fmla="*/ 1060429 w 5961600"/>
              <a:gd name="connsiteY10" fmla="*/ 3480152 h 3715200"/>
              <a:gd name="connsiteX11" fmla="*/ 1004494 w 5961600"/>
              <a:gd name="connsiteY11" fmla="*/ 3480152 h 3715200"/>
              <a:gd name="connsiteX12" fmla="*/ 80844 w 5961600"/>
              <a:gd name="connsiteY12" fmla="*/ 3480152 h 3715200"/>
              <a:gd name="connsiteX13" fmla="*/ 0 w 5961600"/>
              <a:gd name="connsiteY13" fmla="*/ 3480152 h 3715200"/>
              <a:gd name="connsiteX14" fmla="*/ 0 w 5961600"/>
              <a:gd name="connsiteY14" fmla="*/ 3473421 h 3715200"/>
              <a:gd name="connsiteX15" fmla="*/ 0 w 5961600"/>
              <a:gd name="connsiteY15" fmla="*/ 3428384 h 3715200"/>
              <a:gd name="connsiteX16" fmla="*/ 0 w 5961600"/>
              <a:gd name="connsiteY16" fmla="*/ 292272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961600" h="3715200">
                <a:moveTo>
                  <a:pt x="0" y="0"/>
                </a:moveTo>
                <a:lnTo>
                  <a:pt x="5961600" y="0"/>
                </a:lnTo>
                <a:lnTo>
                  <a:pt x="3805736" y="3170662"/>
                </a:lnTo>
                <a:cubicBezTo>
                  <a:pt x="3551366" y="3526776"/>
                  <a:pt x="3192220" y="3711464"/>
                  <a:pt x="2852125" y="3715200"/>
                </a:cubicBezTo>
                <a:lnTo>
                  <a:pt x="2346960" y="3715200"/>
                </a:lnTo>
                <a:lnTo>
                  <a:pt x="2301240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3428384"/>
                </a:lnTo>
                <a:lnTo>
                  <a:pt x="0" y="2922720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</p:spPr>
        <p:txBody>
          <a:bodyPr wrap="square" lIns="360000" tIns="518400" rIns="115200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200" b="0" kern="1200" cap="all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/>
              <a:t>Platzhalter für eine kurze Aussage </a:t>
            </a:r>
          </a:p>
        </p:txBody>
      </p:sp>
      <p:sp>
        <p:nvSpPr>
          <p:cNvPr id="32" name="Freihandform 31"/>
          <p:cNvSpPr>
            <a:spLocks noChangeAspect="1"/>
          </p:cNvSpPr>
          <p:nvPr userDrawn="1"/>
        </p:nvSpPr>
        <p:spPr bwMode="gray">
          <a:xfrm>
            <a:off x="0" y="3480152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2" name="Freihandform 11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8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713810" y="3525428"/>
            <a:ext cx="4172056" cy="195814"/>
          </a:xfrm>
        </p:spPr>
        <p:txBody>
          <a:bodyPr tIns="36000" rIns="0" bIns="36000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Quellenangabe Fotonachweis</a:t>
            </a:r>
            <a:endParaRPr lang="en-GB"/>
          </a:p>
        </p:txBody>
      </p:sp>
      <p:pic>
        <p:nvPicPr>
          <p:cNvPr id="37" name="Grafik 36">
            <a:extLst>
              <a:ext uri="{FF2B5EF4-FFF2-40B4-BE49-F238E27FC236}">
                <a16:creationId xmlns:a16="http://schemas.microsoft.com/office/drawing/2014/main" id="{A31D6CC0-337C-4CBA-B160-DDDBB8E9B5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6989" y="4603674"/>
            <a:ext cx="1099800" cy="314561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E0D8D6CC-F78E-4FC0-B1DE-9A472D9529C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6136" y="4578212"/>
            <a:ext cx="820827" cy="310134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4ED045DA-19DB-4BAF-BB4F-971743B5752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6168975" y="4584993"/>
            <a:ext cx="1345856" cy="364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0060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ildplatzhalter 2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3715200"/>
          </a:xfrm>
          <a:custGeom>
            <a:avLst/>
            <a:gdLst>
              <a:gd name="connsiteX0" fmla="*/ 0 w 9144000"/>
              <a:gd name="connsiteY0" fmla="*/ 0 h 3715200"/>
              <a:gd name="connsiteX1" fmla="*/ 9144000 w 9144000"/>
              <a:gd name="connsiteY1" fmla="*/ 0 h 3715200"/>
              <a:gd name="connsiteX2" fmla="*/ 9144000 w 9144000"/>
              <a:gd name="connsiteY2" fmla="*/ 3715200 h 3715200"/>
              <a:gd name="connsiteX3" fmla="*/ 5935980 w 9144000"/>
              <a:gd name="connsiteY3" fmla="*/ 3715200 h 3715200"/>
              <a:gd name="connsiteX4" fmla="*/ 5164968 w 9144000"/>
              <a:gd name="connsiteY4" fmla="*/ 3715200 h 3715200"/>
              <a:gd name="connsiteX5" fmla="*/ 1624358 w 9144000"/>
              <a:gd name="connsiteY5" fmla="*/ 3715200 h 3715200"/>
              <a:gd name="connsiteX6" fmla="*/ 1624358 w 9144000"/>
              <a:gd name="connsiteY6" fmla="*/ 3715200 h 3715200"/>
              <a:gd name="connsiteX7" fmla="*/ 1784351 w 9144000"/>
              <a:gd name="connsiteY7" fmla="*/ 3480152 h 3715200"/>
              <a:gd name="connsiteX8" fmla="*/ 1152128 w 9144000"/>
              <a:gd name="connsiteY8" fmla="*/ 3480152 h 3715200"/>
              <a:gd name="connsiteX9" fmla="*/ 1060429 w 9144000"/>
              <a:gd name="connsiteY9" fmla="*/ 3480152 h 3715200"/>
              <a:gd name="connsiteX10" fmla="*/ 1004494 w 9144000"/>
              <a:gd name="connsiteY10" fmla="*/ 3480152 h 3715200"/>
              <a:gd name="connsiteX11" fmla="*/ 80844 w 9144000"/>
              <a:gd name="connsiteY11" fmla="*/ 3480152 h 3715200"/>
              <a:gd name="connsiteX12" fmla="*/ 0 w 9144000"/>
              <a:gd name="connsiteY12" fmla="*/ 3480152 h 3715200"/>
              <a:gd name="connsiteX13" fmla="*/ 0 w 9144000"/>
              <a:gd name="connsiteY13" fmla="*/ 3473421 h 3715200"/>
              <a:gd name="connsiteX14" fmla="*/ 0 w 9144000"/>
              <a:gd name="connsiteY14" fmla="*/ 2689257 h 3715200"/>
              <a:gd name="connsiteX15" fmla="*/ 0 w 9144000"/>
              <a:gd name="connsiteY15" fmla="*/ 225978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44000" h="3715200">
                <a:moveTo>
                  <a:pt x="0" y="0"/>
                </a:moveTo>
                <a:lnTo>
                  <a:pt x="9144000" y="0"/>
                </a:lnTo>
                <a:lnTo>
                  <a:pt x="9144000" y="3715200"/>
                </a:lnTo>
                <a:lnTo>
                  <a:pt x="5935980" y="3715200"/>
                </a:lnTo>
                <a:lnTo>
                  <a:pt x="5164968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2689257"/>
                </a:lnTo>
                <a:lnTo>
                  <a:pt x="0" y="225978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2000" tIns="72000" rIns="252000" bIns="216000" anchor="b">
            <a:noAutofit/>
          </a:bodyPr>
          <a:lstStyle>
            <a:lvl1pPr algn="r">
              <a:spcBef>
                <a:spcPts val="0"/>
              </a:spcBef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Um das Hintergrundbild einzufügen, markieren Sie bitte den grauen</a:t>
            </a:r>
            <a:br>
              <a:rPr lang="de-DE"/>
            </a:br>
            <a:r>
              <a:rPr lang="de-DE"/>
              <a:t>Platzhalter und wählen dann ein Bild über den Reiter „Einfügen“, „Grafik“ </a:t>
            </a:r>
            <a:br>
              <a:rPr lang="de-DE"/>
            </a:br>
            <a:r>
              <a:rPr lang="de-DE"/>
              <a:t>aus. </a:t>
            </a:r>
            <a:r>
              <a:rPr lang="de-DE" noProof="0"/>
              <a:t>Bitte nach Einfügen des Bildes das Bild in den Hintergrund legen.</a:t>
            </a:r>
            <a:endParaRPr lang="de-DE"/>
          </a:p>
        </p:txBody>
      </p:sp>
      <p:sp>
        <p:nvSpPr>
          <p:cNvPr id="30" name="Rechteck 29"/>
          <p:cNvSpPr/>
          <p:nvPr userDrawn="1"/>
        </p:nvSpPr>
        <p:spPr>
          <a:xfrm>
            <a:off x="0" y="3715200"/>
            <a:ext cx="9144000" cy="142829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0"/>
            <a:ext cx="5961600" cy="3715200"/>
          </a:xfrm>
          <a:custGeom>
            <a:avLst/>
            <a:gdLst>
              <a:gd name="connsiteX0" fmla="*/ 0 w 5961600"/>
              <a:gd name="connsiteY0" fmla="*/ 0 h 3715200"/>
              <a:gd name="connsiteX1" fmla="*/ 5961600 w 5961600"/>
              <a:gd name="connsiteY1" fmla="*/ 0 h 3715200"/>
              <a:gd name="connsiteX2" fmla="*/ 3805736 w 5961600"/>
              <a:gd name="connsiteY2" fmla="*/ 3170662 h 3715200"/>
              <a:gd name="connsiteX3" fmla="*/ 2852125 w 5961600"/>
              <a:gd name="connsiteY3" fmla="*/ 3715200 h 3715200"/>
              <a:gd name="connsiteX4" fmla="*/ 2346960 w 5961600"/>
              <a:gd name="connsiteY4" fmla="*/ 3715200 h 3715200"/>
              <a:gd name="connsiteX5" fmla="*/ 2301240 w 5961600"/>
              <a:gd name="connsiteY5" fmla="*/ 3715200 h 3715200"/>
              <a:gd name="connsiteX6" fmla="*/ 1624358 w 5961600"/>
              <a:gd name="connsiteY6" fmla="*/ 3715200 h 3715200"/>
              <a:gd name="connsiteX7" fmla="*/ 1624358 w 5961600"/>
              <a:gd name="connsiteY7" fmla="*/ 3715200 h 3715200"/>
              <a:gd name="connsiteX8" fmla="*/ 1784351 w 5961600"/>
              <a:gd name="connsiteY8" fmla="*/ 3480152 h 3715200"/>
              <a:gd name="connsiteX9" fmla="*/ 1152128 w 5961600"/>
              <a:gd name="connsiteY9" fmla="*/ 3480152 h 3715200"/>
              <a:gd name="connsiteX10" fmla="*/ 1060429 w 5961600"/>
              <a:gd name="connsiteY10" fmla="*/ 3480152 h 3715200"/>
              <a:gd name="connsiteX11" fmla="*/ 1004494 w 5961600"/>
              <a:gd name="connsiteY11" fmla="*/ 3480152 h 3715200"/>
              <a:gd name="connsiteX12" fmla="*/ 80844 w 5961600"/>
              <a:gd name="connsiteY12" fmla="*/ 3480152 h 3715200"/>
              <a:gd name="connsiteX13" fmla="*/ 0 w 5961600"/>
              <a:gd name="connsiteY13" fmla="*/ 3480152 h 3715200"/>
              <a:gd name="connsiteX14" fmla="*/ 0 w 5961600"/>
              <a:gd name="connsiteY14" fmla="*/ 3473421 h 3715200"/>
              <a:gd name="connsiteX15" fmla="*/ 0 w 5961600"/>
              <a:gd name="connsiteY15" fmla="*/ 3428384 h 3715200"/>
              <a:gd name="connsiteX16" fmla="*/ 0 w 5961600"/>
              <a:gd name="connsiteY16" fmla="*/ 292272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961600" h="3715200">
                <a:moveTo>
                  <a:pt x="0" y="0"/>
                </a:moveTo>
                <a:lnTo>
                  <a:pt x="5961600" y="0"/>
                </a:lnTo>
                <a:lnTo>
                  <a:pt x="3805736" y="3170662"/>
                </a:lnTo>
                <a:cubicBezTo>
                  <a:pt x="3551366" y="3526776"/>
                  <a:pt x="3192220" y="3711464"/>
                  <a:pt x="2852125" y="3715200"/>
                </a:cubicBezTo>
                <a:lnTo>
                  <a:pt x="2346960" y="3715200"/>
                </a:lnTo>
                <a:lnTo>
                  <a:pt x="2301240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3428384"/>
                </a:lnTo>
                <a:lnTo>
                  <a:pt x="0" y="2922720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</p:spPr>
        <p:txBody>
          <a:bodyPr wrap="square" lIns="360000" tIns="518400" rIns="115200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200" b="0" kern="1200" cap="all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/>
              <a:t>Platzhalter für eine kurze Aussage </a:t>
            </a:r>
          </a:p>
        </p:txBody>
      </p:sp>
      <p:sp>
        <p:nvSpPr>
          <p:cNvPr id="32" name="Freihandform 31"/>
          <p:cNvSpPr>
            <a:spLocks noChangeAspect="1"/>
          </p:cNvSpPr>
          <p:nvPr userDrawn="1"/>
        </p:nvSpPr>
        <p:spPr bwMode="gray">
          <a:xfrm>
            <a:off x="0" y="3480152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2" name="Freihandform 11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8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713810" y="3525428"/>
            <a:ext cx="4172056" cy="195814"/>
          </a:xfrm>
        </p:spPr>
        <p:txBody>
          <a:bodyPr tIns="36000" rIns="0" bIns="36000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Quellenangabe Fotonachweis</a:t>
            </a:r>
            <a:endParaRPr lang="en-GB"/>
          </a:p>
        </p:txBody>
      </p:sp>
      <p:pic>
        <p:nvPicPr>
          <p:cNvPr id="37" name="Grafik 36">
            <a:extLst>
              <a:ext uri="{FF2B5EF4-FFF2-40B4-BE49-F238E27FC236}">
                <a16:creationId xmlns:a16="http://schemas.microsoft.com/office/drawing/2014/main" id="{A31D6CC0-337C-4CBA-B160-DDDBB8E9B5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6989" y="4611766"/>
            <a:ext cx="1099800" cy="314561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E0D8D6CC-F78E-4FC0-B1DE-9A472D9529C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6136" y="4586304"/>
            <a:ext cx="820827" cy="310134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4ED045DA-19DB-4BAF-BB4F-971743B5752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6168975" y="4593085"/>
            <a:ext cx="1345856" cy="364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0060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766337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55825"/>
            <a:ext cx="8297863" cy="72019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4"/>
          </p:nvPr>
        </p:nvSpPr>
        <p:spPr>
          <a:xfrm>
            <a:off x="358776" y="957241"/>
            <a:ext cx="8297864" cy="246221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7" y="4039891"/>
            <a:ext cx="8297864" cy="112467"/>
          </a:xfrm>
        </p:spPr>
        <p:txBody>
          <a:bodyPr anchor="ctr"/>
          <a:lstStyle>
            <a:lvl1pPr marL="0" indent="0">
              <a:buNone/>
              <a:defRPr sz="731" baseline="0"/>
            </a:lvl1pPr>
          </a:lstStyle>
          <a:p>
            <a:pPr lvl="0"/>
            <a:r>
              <a:rPr lang="de-DE"/>
              <a:t>Bildquelle einfügen</a:t>
            </a:r>
          </a:p>
        </p:txBody>
      </p:sp>
      <p:cxnSp>
        <p:nvCxnSpPr>
          <p:cNvPr id="8" name="Gerade Verbindung 7"/>
          <p:cNvCxnSpPr/>
          <p:nvPr userDrawn="1"/>
        </p:nvCxnSpPr>
        <p:spPr bwMode="auto">
          <a:xfrm>
            <a:off x="374967" y="704423"/>
            <a:ext cx="831600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63C361D-6D9E-4F98-8831-48736655B3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474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95227AB6-6C85-499A-B3A0-8793A284BC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07" r="1027" b="17539"/>
          <a:stretch/>
        </p:blipFill>
        <p:spPr>
          <a:xfrm>
            <a:off x="0" y="1"/>
            <a:ext cx="9144000" cy="3902153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E522D41B-3480-49D0-AF7A-88DC9CACDEAB}"/>
              </a:ext>
            </a:extLst>
          </p:cNvPr>
          <p:cNvSpPr/>
          <p:nvPr userDrawn="1"/>
        </p:nvSpPr>
        <p:spPr>
          <a:xfrm>
            <a:off x="0" y="3746686"/>
            <a:ext cx="9144000" cy="139681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D677C26-E746-4ED3-9305-2BF75C192E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9031" y="3974638"/>
            <a:ext cx="6687094" cy="592600"/>
          </a:xfrm>
        </p:spPr>
        <p:txBody>
          <a:bodyPr>
            <a:normAutofit/>
          </a:bodyPr>
          <a:lstStyle>
            <a:lvl1pPr marL="0" indent="0" algn="l">
              <a:buNone/>
              <a:defRPr sz="1575" b="1">
                <a:solidFill>
                  <a:schemeClr val="bg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Grafik 15">
            <a:extLst>
              <a:ext uri="{FF2B5EF4-FFF2-40B4-BE49-F238E27FC236}">
                <a16:creationId xmlns:a16="http://schemas.microsoft.com/office/drawing/2014/main" id="{29C6C705-45D1-4925-8431-14B153B68F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66417" r="-2"/>
          <a:stretch/>
        </p:blipFill>
        <p:spPr>
          <a:xfrm>
            <a:off x="0" y="3602366"/>
            <a:ext cx="1350434" cy="299788"/>
          </a:xfrm>
          <a:custGeom>
            <a:avLst/>
            <a:gdLst>
              <a:gd name="connsiteX0" fmla="*/ -228 w 5361221"/>
              <a:gd name="connsiteY0" fmla="*/ -17 h 399717"/>
              <a:gd name="connsiteX1" fmla="*/ 5360994 w 5361221"/>
              <a:gd name="connsiteY1" fmla="*/ -17 h 399717"/>
              <a:gd name="connsiteX2" fmla="*/ 5360994 w 5361221"/>
              <a:gd name="connsiteY2" fmla="*/ 399700 h 399717"/>
              <a:gd name="connsiteX3" fmla="*/ -228 w 5361221"/>
              <a:gd name="connsiteY3" fmla="*/ 399700 h 399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61221" h="399717">
                <a:moveTo>
                  <a:pt x="-228" y="-17"/>
                </a:moveTo>
                <a:lnTo>
                  <a:pt x="5360994" y="-17"/>
                </a:lnTo>
                <a:lnTo>
                  <a:pt x="5360994" y="399700"/>
                </a:lnTo>
                <a:lnTo>
                  <a:pt x="-228" y="399700"/>
                </a:lnTo>
                <a:close/>
              </a:path>
            </a:pathLst>
          </a:custGeom>
          <a:noFill/>
        </p:spPr>
      </p:pic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E2397540-1CE1-475E-A133-71774C0D17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5529" y="4702969"/>
            <a:ext cx="3444478" cy="21669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Zweite Überschrift</a:t>
            </a:r>
          </a:p>
        </p:txBody>
      </p:sp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9BD1B39D-523E-4D4B-B568-80E2A027CE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11149" y="4702969"/>
            <a:ext cx="3444478" cy="216694"/>
          </a:xfrm>
        </p:spPr>
        <p:txBody>
          <a:bodyPr>
            <a:noAutofit/>
          </a:bodyPr>
          <a:lstStyle>
            <a:lvl1pPr marL="0" indent="0" algn="r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Autor/Datum</a:t>
            </a:r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80BC0476-8392-4874-923D-27939068A9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-658236" y="515936"/>
            <a:ext cx="1296000" cy="353616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1pPr>
            <a:lvl2pPr marL="0" indent="0">
              <a:buNone/>
              <a:defRPr sz="600"/>
            </a:lvl2pPr>
            <a:lvl3pPr marL="0" indent="0">
              <a:buNone/>
              <a:defRPr sz="600"/>
            </a:lvl3pPr>
            <a:lvl4pPr marL="0" indent="0">
              <a:buNone/>
              <a:defRPr sz="600"/>
            </a:lvl4pPr>
            <a:lvl5pPr marL="0" indent="0">
              <a:buNone/>
              <a:defRPr sz="600"/>
            </a:lvl5pPr>
          </a:lstStyle>
          <a:p>
            <a:pPr lvl="0"/>
            <a:r>
              <a:rPr lang="de-DE"/>
              <a:t>© HPA, Andreas Schmidt-</a:t>
            </a:r>
            <a:r>
              <a:rPr lang="de-DE" err="1"/>
              <a:t>Wiethoff</a:t>
            </a:r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EFA2CD29-5EF6-442D-B6CD-C1ED048C99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7941" y="869506"/>
            <a:ext cx="2385810" cy="744480"/>
          </a:xfrm>
          <a:solidFill>
            <a:schemeClr val="bg1"/>
          </a:solidFill>
        </p:spPr>
        <p:txBody>
          <a:bodyPr wrap="square" lIns="154800" tIns="25200" rIns="144000" bIns="72000">
            <a:spAutoFit/>
          </a:bodyPr>
          <a:lstStyle>
            <a:lvl1pPr marL="0" indent="0">
              <a:spcAft>
                <a:spcPts val="0"/>
              </a:spcAft>
              <a:buNone/>
              <a:defRPr sz="2100" b="1" i="0" cap="all" baseline="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None/>
              <a:defRPr sz="2100" b="1" i="0" cap="all" baseline="0">
                <a:solidFill>
                  <a:srgbClr val="FFC000"/>
                </a:solidFill>
              </a:defRPr>
            </a:lvl2pPr>
            <a:lvl3pPr marL="0" indent="0">
              <a:spcAft>
                <a:spcPts val="0"/>
              </a:spcAft>
              <a:buNone/>
              <a:defRPr sz="2100" b="1" i="0" cap="all" baseline="0">
                <a:solidFill>
                  <a:srgbClr val="FFC000"/>
                </a:solidFill>
              </a:defRPr>
            </a:lvl3pPr>
            <a:lvl4pPr marL="0" indent="0">
              <a:spcAft>
                <a:spcPts val="0"/>
              </a:spcAft>
              <a:buNone/>
              <a:defRPr sz="2100" b="1" i="0" cap="all" baseline="0">
                <a:solidFill>
                  <a:srgbClr val="FFC000"/>
                </a:solidFill>
              </a:defRPr>
            </a:lvl4pPr>
            <a:lvl5pPr marL="0" indent="0">
              <a:spcAft>
                <a:spcPts val="0"/>
              </a:spcAft>
              <a:buNone/>
              <a:defRPr sz="2100" b="1" i="0" cap="all" baseline="0">
                <a:solidFill>
                  <a:srgbClr val="FFC000"/>
                </a:solidFill>
              </a:defRPr>
            </a:lvl5pPr>
          </a:lstStyle>
          <a:p>
            <a:pPr lvl="0"/>
            <a:r>
              <a:rPr lang="de-DE"/>
              <a:t>Text einfügen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7A3892BB-28BA-4193-A8F9-BC6CF17846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41247" y="1340745"/>
            <a:ext cx="2385810" cy="744480"/>
          </a:xfrm>
          <a:solidFill>
            <a:schemeClr val="accent1"/>
          </a:solidFill>
        </p:spPr>
        <p:txBody>
          <a:bodyPr wrap="square" lIns="154800" tIns="25200" rIns="144000" bIns="72000">
            <a:spAutoFit/>
          </a:bodyPr>
          <a:lstStyle>
            <a:lvl1pPr marL="0" indent="0">
              <a:spcAft>
                <a:spcPts val="0"/>
              </a:spcAft>
              <a:buNone/>
              <a:defRPr sz="2100" b="1" i="0" cap="all" baseline="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2100" b="1" i="0" cap="all" baseline="0">
                <a:solidFill>
                  <a:srgbClr val="FFC000"/>
                </a:solidFill>
              </a:defRPr>
            </a:lvl2pPr>
            <a:lvl3pPr marL="0" indent="0">
              <a:spcAft>
                <a:spcPts val="0"/>
              </a:spcAft>
              <a:buNone/>
              <a:defRPr sz="2100" b="1" i="0" cap="all" baseline="0">
                <a:solidFill>
                  <a:srgbClr val="FFC000"/>
                </a:solidFill>
              </a:defRPr>
            </a:lvl3pPr>
            <a:lvl4pPr marL="0" indent="0">
              <a:spcAft>
                <a:spcPts val="0"/>
              </a:spcAft>
              <a:buNone/>
              <a:defRPr sz="2100" b="1" i="0" cap="all" baseline="0">
                <a:solidFill>
                  <a:srgbClr val="FFC000"/>
                </a:solidFill>
              </a:defRPr>
            </a:lvl4pPr>
            <a:lvl5pPr marL="0" indent="0">
              <a:spcAft>
                <a:spcPts val="0"/>
              </a:spcAft>
              <a:buNone/>
              <a:defRPr sz="2100" b="1" i="0" cap="all" baseline="0">
                <a:solidFill>
                  <a:srgbClr val="FFC000"/>
                </a:solidFill>
              </a:defRPr>
            </a:lvl5pPr>
          </a:lstStyle>
          <a:p>
            <a:pPr lvl="0"/>
            <a:r>
              <a:rPr lang="de-DE"/>
              <a:t>Text einfügen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9CD9B8BC-ED35-4E00-B722-8613DFEEA6B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09313" y="114053"/>
            <a:ext cx="1134687" cy="555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7353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7995A6-37EB-EE0E-DF7C-B884515F0F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A0F5D3D-3A49-2B82-F5EB-05A69CDEB9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137473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5E60B3-D9B2-3ECE-F718-59DD15F3AC4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defRPr/>
            </a:pPr>
            <a:r>
              <a:rPr lang="de-DE">
                <a:solidFill>
                  <a:srgbClr val="012F60"/>
                </a:solidFill>
                <a:latin typeface="Artex" pitchFamily="2" charset="77"/>
              </a:rPr>
              <a:t>TT.MM.JJJJ    |    (C2 intern)    |    Autor    |    Name der Prä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C978912-4534-B555-31DE-ECDC8C3EBA5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907F89B-8B72-AB49-B3FF-BBBF869EF95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01953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0 -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725506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ject 3"/>
          <p:cNvSpPr/>
          <p:nvPr userDrawn="1"/>
        </p:nvSpPr>
        <p:spPr bwMode="hidden">
          <a:xfrm>
            <a:off x="0" y="0"/>
            <a:ext cx="1587731" cy="51435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pPr eaLnBrk="1"/>
            <a:endParaRPr lang="de-DE" sz="1269">
              <a:latin typeface="Univers for KPMG Light" panose="020B0403020202020204" pitchFamily="34" charset="0"/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0308" y="459000"/>
            <a:ext cx="828583" cy="270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060308" y="1006078"/>
            <a:ext cx="6314343" cy="1789637"/>
          </a:xfrm>
        </p:spPr>
        <p:txBody>
          <a:bodyPr vert="horz" wrap="square" anchor="t" anchorCtr="0">
            <a:spAutoFit/>
          </a:bodyPr>
          <a:lstStyle>
            <a:lvl1pPr>
              <a:lnSpc>
                <a:spcPts val="6900"/>
              </a:lnSpc>
              <a:defRPr sz="8250" b="0" i="0">
                <a:solidFill>
                  <a:srgbClr val="FFFFFF"/>
                </a:solidFill>
                <a:latin typeface="KPMG Extralight"/>
                <a:cs typeface="KPMG Extralight"/>
              </a:defRPr>
            </a:lvl1pPr>
          </a:lstStyle>
          <a:p>
            <a:r>
              <a:rPr lang="de-DE"/>
              <a:t>Title </a:t>
            </a:r>
            <a:r>
              <a:rPr lang="de-DE" err="1"/>
              <a:t>slide</a:t>
            </a:r>
            <a:r>
              <a:rPr lang="de-DE"/>
              <a:t> 0</a:t>
            </a:r>
            <a:br>
              <a:rPr lang="de-DE"/>
            </a:b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image</a:t>
            </a:r>
            <a:endParaRPr lang="de-DE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060308" y="3672000"/>
            <a:ext cx="6314343" cy="161583"/>
          </a:xfrm>
          <a:prstGeom prst="rect">
            <a:avLst/>
          </a:prstGeom>
        </p:spPr>
        <p:txBody>
          <a:bodyPr vert="horz" wrap="square" lIns="72000">
            <a:spAutoFit/>
          </a:bodyPr>
          <a:lstStyle>
            <a:lvl1pPr>
              <a:spcBef>
                <a:spcPts val="210"/>
              </a:spcBef>
              <a:spcAft>
                <a:spcPts val="0"/>
              </a:spcAft>
              <a:defRPr sz="1050" b="1">
                <a:solidFill>
                  <a:srgbClr val="FFFFFF"/>
                </a:solidFill>
                <a:latin typeface="Univers for KPMG Light"/>
                <a:cs typeface="Univers for KPMG Light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err="1"/>
              <a:t>Subtitle</a:t>
            </a:r>
            <a:endParaRPr lang="de-DE"/>
          </a:p>
        </p:txBody>
      </p:sp>
      <p:sp>
        <p:nvSpPr>
          <p:cNvPr id="11" name="object 3"/>
          <p:cNvSpPr/>
          <p:nvPr userDrawn="1"/>
        </p:nvSpPr>
        <p:spPr bwMode="white">
          <a:xfrm>
            <a:off x="1587732" y="1"/>
            <a:ext cx="7556269" cy="51435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91DA"/>
          </a:solidFill>
        </p:spPr>
        <p:txBody>
          <a:bodyPr wrap="square" lIns="0" tIns="0" rIns="0" bIns="0" rtlCol="0">
            <a:noAutofit/>
          </a:bodyPr>
          <a:lstStyle/>
          <a:p>
            <a:pPr eaLnBrk="1"/>
            <a:endParaRPr lang="de-DE" sz="1404">
              <a:latin typeface="Univers for KPMG Light" panose="020B0403020202020204" pitchFamily="34" charset="0"/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45396" y="1722999"/>
            <a:ext cx="4299460" cy="3346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379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9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p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8652835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97539" y="1006079"/>
            <a:ext cx="7562481" cy="3456384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defRPr sz="1050" b="1" i="0">
                <a:solidFill>
                  <a:srgbClr val="00338D"/>
                </a:solidFill>
                <a:latin typeface="Univers for KPMG"/>
                <a:cs typeface="Univers for KPMG"/>
              </a:defRPr>
            </a:lvl1pPr>
            <a:lvl2pPr marL="0" indent="0">
              <a:buFontTx/>
              <a:buNone/>
              <a:defRPr>
                <a:solidFill>
                  <a:srgbClr val="00338D"/>
                </a:solidFill>
                <a:latin typeface="Univers for KPMG Light"/>
                <a:cs typeface="Univers for KPMG Light"/>
              </a:defRPr>
            </a:lvl2pPr>
            <a:lvl3pPr marL="214313" indent="-214313">
              <a:buFont typeface="Univers for KPMG Light" panose="020B0403020202020204" pitchFamily="34" charset="0"/>
              <a:buChar char="—"/>
              <a:defRPr>
                <a:solidFill>
                  <a:srgbClr val="00338D"/>
                </a:solidFill>
                <a:latin typeface="Univers for KPMG Light"/>
                <a:cs typeface="Univers for KPMG Light"/>
              </a:defRPr>
            </a:lvl3pPr>
            <a:lvl4pPr marL="432054" indent="-171450">
              <a:buFont typeface="Univers for KPMG Light" panose="020B0403020202020204" pitchFamily="34" charset="0"/>
              <a:buChar char="-"/>
              <a:defRPr lang="en-US" sz="1125" b="0" i="0" dirty="0" smtClean="0">
                <a:solidFill>
                  <a:srgbClr val="00338D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4pPr>
            <a:lvl5pPr>
              <a:defRPr lang="en-US" sz="1125" b="0" i="0" dirty="0" smtClean="0">
                <a:solidFill>
                  <a:srgbClr val="00338D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97539" y="329384"/>
            <a:ext cx="7562850" cy="540000"/>
          </a:xfrm>
        </p:spPr>
        <p:txBody>
          <a:bodyPr anchor="b"/>
          <a:lstStyle>
            <a:lvl1pPr>
              <a:lnSpc>
                <a:spcPts val="2100"/>
              </a:lnSpc>
              <a:spcAft>
                <a:spcPts val="0"/>
              </a:spcAft>
              <a:defRPr sz="2100" b="0" baseline="0">
                <a:latin typeface="KPMG Light" panose="020B0403030202040204" pitchFamily="34" charset="0"/>
              </a:defRPr>
            </a:lvl1pPr>
            <a:lvl2pPr>
              <a:defRPr sz="1350">
                <a:latin typeface="KPMG Light" panose="020B0403030202040204" pitchFamily="34" charset="0"/>
              </a:defRPr>
            </a:lvl2pPr>
            <a:lvl3pPr>
              <a:defRPr sz="1350">
                <a:latin typeface="KPMG Light" panose="020B0403030202040204" pitchFamily="34" charset="0"/>
              </a:defRPr>
            </a:lvl3pPr>
            <a:lvl4pPr>
              <a:defRPr sz="1350">
                <a:latin typeface="KPMG Light" panose="020B0403030202040204" pitchFamily="34" charset="0"/>
              </a:defRPr>
            </a:lvl4pPr>
            <a:lvl5pPr>
              <a:defRPr sz="1350">
                <a:latin typeface="KPMG Light" panose="020B0403030202040204" pitchFamily="34" charset="0"/>
              </a:defRPr>
            </a:lvl5pPr>
          </a:lstStyle>
          <a:p>
            <a:pPr lvl="0"/>
            <a:r>
              <a:rPr lang="de-DE"/>
              <a:t>Titelmaster durch Klicken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797539" y="162000"/>
            <a:ext cx="7563323" cy="129600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DE" b="0" dirty="0" smtClean="0">
                <a:latin typeface="Univers for KPMG" panose="020B0603020202020204" pitchFamily="34" charset="0"/>
              </a:defRPr>
            </a:lvl1pPr>
            <a:lvl2pPr>
              <a:defRPr lang="de-DE" dirty="0" smtClean="0">
                <a:latin typeface="Univers for KPMG" panose="020B0603020202020204" pitchFamily="34" charset="0"/>
              </a:defRPr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>
              <a:lnSpc>
                <a:spcPct val="80000"/>
              </a:lnSpc>
            </a:pPr>
            <a:r>
              <a:rPr lang="de-DE"/>
              <a:t>Super title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797539" y="4510106"/>
            <a:ext cx="7576038" cy="135000"/>
          </a:xfrm>
        </p:spPr>
        <p:txBody>
          <a:bodyPr lIns="90000" anchor="ctr"/>
          <a:lstStyle>
            <a:lvl1pPr>
              <a:defRPr lang="de-DE" sz="600" b="0" kern="1200" dirty="0" smtClean="0">
                <a:solidFill>
                  <a:schemeClr val="tx1">
                    <a:tint val="75000"/>
                  </a:schemeClr>
                </a:solidFill>
                <a:latin typeface="Univers for KPMG" panose="020B0603020202020204" pitchFamily="34" charset="0"/>
                <a:ea typeface="+mn-ea"/>
                <a:cs typeface="+mn-cs"/>
              </a:defRPr>
            </a:lvl1pPr>
            <a:lvl2pPr>
              <a:defRPr lang="de-DE" sz="600" kern="1200" dirty="0" smtClean="0">
                <a:solidFill>
                  <a:schemeClr val="tx1">
                    <a:tint val="75000"/>
                  </a:schemeClr>
                </a:solidFill>
                <a:latin typeface="Univers for KPMG" panose="020B0603020202020204" pitchFamily="34" charset="0"/>
                <a:ea typeface="+mn-ea"/>
                <a:cs typeface="+mn-cs"/>
              </a:defRPr>
            </a:lvl2pPr>
            <a:lvl3pPr>
              <a:defRPr lang="de-DE" sz="600" kern="1200" dirty="0" smtClean="0">
                <a:solidFill>
                  <a:schemeClr val="tx1">
                    <a:tint val="75000"/>
                  </a:schemeClr>
                </a:solidFill>
                <a:latin typeface="Univers for KPMG" panose="020B0603020202020204" pitchFamily="34" charset="0"/>
                <a:ea typeface="+mn-ea"/>
                <a:cs typeface="+mn-cs"/>
              </a:defRPr>
            </a:lvl3pPr>
            <a:lvl4pPr>
              <a:defRPr lang="de-DE" sz="600" kern="1200" dirty="0" smtClean="0">
                <a:solidFill>
                  <a:schemeClr val="tx1">
                    <a:tint val="75000"/>
                  </a:schemeClr>
                </a:solidFill>
                <a:latin typeface="Univers for KPMG" panose="020B0603020202020204" pitchFamily="34" charset="0"/>
                <a:ea typeface="+mn-ea"/>
                <a:cs typeface="+mn-cs"/>
              </a:defRPr>
            </a:lvl4pPr>
            <a:lvl5pPr>
              <a:defRPr lang="de-DE" sz="600" kern="1200" dirty="0">
                <a:solidFill>
                  <a:schemeClr val="tx1">
                    <a:tint val="75000"/>
                  </a:schemeClr>
                </a:solidFill>
                <a:latin typeface="Univers for KPMG" panose="020B0603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ußnote</a:t>
            </a:r>
          </a:p>
        </p:txBody>
      </p:sp>
    </p:spTree>
    <p:extLst>
      <p:ext uri="{BB962C8B-B14F-4D97-AF65-F5344CB8AC3E}">
        <p14:creationId xmlns:p14="http://schemas.microsoft.com/office/powerpoint/2010/main" val="9783883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3"/>
          <p:cNvSpPr/>
          <p:nvPr userDrawn="1"/>
        </p:nvSpPr>
        <p:spPr bwMode="hidden">
          <a:xfrm>
            <a:off x="0" y="0"/>
            <a:ext cx="1587731" cy="51435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pPr eaLnBrk="1"/>
            <a:endParaRPr lang="de-DE" sz="1269">
              <a:latin typeface="Univers for KPMG Light" panose="020B0403020202020204" pitchFamily="34" charset="0"/>
            </a:endParaRPr>
          </a:p>
        </p:txBody>
      </p:sp>
      <p:sp>
        <p:nvSpPr>
          <p:cNvPr id="15" name="Title Placeholder 77"/>
          <p:cNvSpPr>
            <a:spLocks noGrp="1"/>
          </p:cNvSpPr>
          <p:nvPr>
            <p:ph type="title"/>
          </p:nvPr>
        </p:nvSpPr>
        <p:spPr>
          <a:xfrm>
            <a:off x="2060308" y="637785"/>
            <a:ext cx="6299712" cy="226216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lnSpc>
                <a:spcPct val="70000"/>
              </a:lnSpc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68181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1396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mit vielen Punk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3996188"/>
            <a:ext cx="9144000" cy="11473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9532" y="206438"/>
            <a:ext cx="8526334" cy="400110"/>
          </a:xfrm>
        </p:spPr>
        <p:txBody>
          <a:bodyPr/>
          <a:lstStyle>
            <a:lvl1pPr>
              <a:spcBef>
                <a:spcPts val="0"/>
              </a:spcBef>
              <a:defRPr sz="26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59532" y="843558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1</a:t>
            </a:r>
            <a:endParaRPr lang="en-US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59532" y="1304409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2</a:t>
            </a:r>
            <a:endParaRPr lang="en-US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9532" y="1765260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3</a:t>
            </a:r>
            <a:endParaRPr lang="en-US"/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9532" y="2226111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4</a:t>
            </a:r>
            <a:endParaRPr lang="en-US"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9532" y="2686962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5</a:t>
            </a:r>
            <a:endParaRPr lang="en-US"/>
          </a:p>
        </p:txBody>
      </p:sp>
      <p:sp>
        <p:nvSpPr>
          <p:cNvPr id="17" name="Textplatzhalter 1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59532" y="3147814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6</a:t>
            </a:r>
            <a:endParaRPr lang="en-US"/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27584" y="900448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827584" y="1361299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827584" y="1822150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27584" y="2283001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827584" y="2743852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7584" y="3204704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24" name="Textplatzhalter 17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709910" y="843558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7</a:t>
            </a:r>
            <a:endParaRPr lang="en-US"/>
          </a:p>
        </p:txBody>
      </p:sp>
      <p:sp>
        <p:nvSpPr>
          <p:cNvPr id="25" name="Textplatzhalter 17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709910" y="1304409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8</a:t>
            </a:r>
            <a:endParaRPr lang="en-US"/>
          </a:p>
        </p:txBody>
      </p:sp>
      <p:sp>
        <p:nvSpPr>
          <p:cNvPr id="26" name="Textplatzhalter 17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709910" y="1765260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9</a:t>
            </a:r>
            <a:endParaRPr lang="en-US"/>
          </a:p>
        </p:txBody>
      </p:sp>
      <p:sp>
        <p:nvSpPr>
          <p:cNvPr id="27" name="Textplatzhalter 17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709910" y="2226111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10</a:t>
            </a:r>
            <a:endParaRPr lang="en-US"/>
          </a:p>
        </p:txBody>
      </p:sp>
      <p:sp>
        <p:nvSpPr>
          <p:cNvPr id="28" name="Textplatzhalter 17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709910" y="2686962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11</a:t>
            </a:r>
            <a:endParaRPr lang="en-US"/>
          </a:p>
        </p:txBody>
      </p:sp>
      <p:sp>
        <p:nvSpPr>
          <p:cNvPr id="29" name="Textplatzhalter 17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4709910" y="3147814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12</a:t>
            </a:r>
            <a:endParaRPr lang="en-US"/>
          </a:p>
        </p:txBody>
      </p:sp>
      <p:sp>
        <p:nvSpPr>
          <p:cNvPr id="30" name="Textplatzhalter 10"/>
          <p:cNvSpPr>
            <a:spLocks noGrp="1"/>
          </p:cNvSpPr>
          <p:nvPr>
            <p:ph type="body" sz="quarter" idx="35" hasCustomPrompt="1"/>
          </p:nvPr>
        </p:nvSpPr>
        <p:spPr>
          <a:xfrm>
            <a:off x="5177962" y="900448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31" name="Textplatzhalter 10"/>
          <p:cNvSpPr>
            <a:spLocks noGrp="1"/>
          </p:cNvSpPr>
          <p:nvPr>
            <p:ph type="body" sz="quarter" idx="36" hasCustomPrompt="1"/>
          </p:nvPr>
        </p:nvSpPr>
        <p:spPr>
          <a:xfrm>
            <a:off x="5177962" y="1361299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32" name="Textplatzhalter 10"/>
          <p:cNvSpPr>
            <a:spLocks noGrp="1"/>
          </p:cNvSpPr>
          <p:nvPr>
            <p:ph type="body" sz="quarter" idx="37" hasCustomPrompt="1"/>
          </p:nvPr>
        </p:nvSpPr>
        <p:spPr>
          <a:xfrm>
            <a:off x="5177962" y="1822150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33" name="Textplatzhalter 10"/>
          <p:cNvSpPr>
            <a:spLocks noGrp="1"/>
          </p:cNvSpPr>
          <p:nvPr>
            <p:ph type="body" sz="quarter" idx="38" hasCustomPrompt="1"/>
          </p:nvPr>
        </p:nvSpPr>
        <p:spPr>
          <a:xfrm>
            <a:off x="5177962" y="2283001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34" name="Textplatzhalter 10"/>
          <p:cNvSpPr>
            <a:spLocks noGrp="1"/>
          </p:cNvSpPr>
          <p:nvPr>
            <p:ph type="body" sz="quarter" idx="39" hasCustomPrompt="1"/>
          </p:nvPr>
        </p:nvSpPr>
        <p:spPr>
          <a:xfrm>
            <a:off x="5177962" y="2743852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35" name="Textplatzhalter 10"/>
          <p:cNvSpPr>
            <a:spLocks noGrp="1"/>
          </p:cNvSpPr>
          <p:nvPr>
            <p:ph type="body" sz="quarter" idx="40" hasCustomPrompt="1"/>
          </p:nvPr>
        </p:nvSpPr>
        <p:spPr>
          <a:xfrm>
            <a:off x="5177962" y="3204704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grpSp>
        <p:nvGrpSpPr>
          <p:cNvPr id="36" name="Gruppieren 35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37" name="Freihandform 36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8" name="Freihandform 37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9" name="Gruppieren 38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40" name="Freihandform 39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1" name="Freihandform 40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2" name="Freihandform 41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3" name="Freihandform 42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4" name="Gruppieren 43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45" name="Freihandform 44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" name="Freihandform 45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7" name="Gruppieren 46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48" name="Freihandform 47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" name="Freihandform 48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" name="Freihandform 49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1" name="Freihandform 50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52" name="Freihandform 51"/>
          <p:cNvSpPr>
            <a:spLocks noChangeAspect="1"/>
          </p:cNvSpPr>
          <p:nvPr userDrawn="1"/>
        </p:nvSpPr>
        <p:spPr bwMode="gray">
          <a:xfrm>
            <a:off x="0" y="3746837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EB645AD-992D-D748-9A4F-E7676C7681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7453" y="4669656"/>
            <a:ext cx="1099800" cy="314561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29E31198-BDAF-66C7-674A-6A4C4385630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4930" y="4644194"/>
            <a:ext cx="820827" cy="31013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E1E1D30F-3248-D751-427C-9D862263F79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5148677" y="4650975"/>
            <a:ext cx="1345856" cy="364309"/>
          </a:xfrm>
          <a:prstGeom prst="rect">
            <a:avLst/>
          </a:prstGeom>
        </p:spPr>
      </p:pic>
      <p:pic>
        <p:nvPicPr>
          <p:cNvPr id="5" name="Grafik 4" descr="Ein Bild, das Text, Schrift, Logo, Symbol enthält.&#10;&#10;Automatisch generierte Beschreibung">
            <a:extLst>
              <a:ext uri="{FF2B5EF4-FFF2-40B4-BE49-F238E27FC236}">
                <a16:creationId xmlns:a16="http://schemas.microsoft.com/office/drawing/2014/main" id="{66424A71-911F-3B6F-A2A9-9D263A4103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838" t="10962" r="13771" b="10540"/>
          <a:stretch/>
        </p:blipFill>
        <p:spPr>
          <a:xfrm>
            <a:off x="8220173" y="4648113"/>
            <a:ext cx="778053" cy="36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39760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 - vertikal+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5466974"/>
              </p:ext>
            </p:extLst>
          </p:nvPr>
        </p:nvGraphicFramePr>
        <p:xfrm>
          <a:off x="1333" y="1051"/>
          <a:ext cx="1330" cy="1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0" imgH="531" progId="TCLayout.ActiveDocument.1">
                  <p:embed/>
                </p:oleObj>
              </mc:Choice>
              <mc:Fallback>
                <p:oleObj name="think-cell Folie" r:id="rId3" imgW="530" imgH="53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33" y="1051"/>
                        <a:ext cx="1330" cy="1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3"/>
          <p:cNvSpPr/>
          <p:nvPr userDrawn="1"/>
        </p:nvSpPr>
        <p:spPr bwMode="white">
          <a:xfrm>
            <a:off x="0" y="-74544"/>
            <a:ext cx="9144000" cy="5292588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91DA"/>
          </a:solidFill>
        </p:spPr>
        <p:txBody>
          <a:bodyPr wrap="square" lIns="0" tIns="0" rIns="0" bIns="0" rtlCol="0">
            <a:noAutofit/>
          </a:bodyPr>
          <a:lstStyle/>
          <a:p>
            <a:pPr eaLnBrk="1"/>
            <a:endParaRPr lang="de-DE" sz="1238">
              <a:latin typeface="Univers for KPMG Light" panose="020B0403020202020204" pitchFamily="34" charset="0"/>
            </a:endParaRPr>
          </a:p>
        </p:txBody>
      </p:sp>
      <p:sp>
        <p:nvSpPr>
          <p:cNvPr id="3" name="object 3"/>
          <p:cNvSpPr/>
          <p:nvPr userDrawn="1"/>
        </p:nvSpPr>
        <p:spPr bwMode="hidden">
          <a:xfrm>
            <a:off x="0" y="-74544"/>
            <a:ext cx="1587731" cy="5292588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pPr eaLnBrk="1"/>
            <a:endParaRPr lang="de-DE" sz="1232">
              <a:latin typeface="Univers for KPMG Light" panose="020B0403020202020204" pitchFamily="34" charset="0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045677" y="3651870"/>
            <a:ext cx="6314343" cy="101796"/>
          </a:xfrm>
          <a:prstGeom prst="rect">
            <a:avLst/>
          </a:prstGeom>
        </p:spPr>
        <p:txBody>
          <a:bodyPr vert="horz" wrap="square" lIns="36000">
            <a:spAutoFit/>
          </a:bodyPr>
          <a:lstStyle>
            <a:lvl1pPr>
              <a:spcBef>
                <a:spcPts val="204"/>
              </a:spcBef>
              <a:spcAft>
                <a:spcPts val="0"/>
              </a:spcAft>
              <a:defRPr sz="662" b="1">
                <a:solidFill>
                  <a:srgbClr val="FFFFFF"/>
                </a:solidFill>
                <a:latin typeface="+mn-lt"/>
                <a:cs typeface="Univers for KPMG Light" panose="020B0403020202020204" pitchFamily="34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err="1"/>
              <a:t>Subtitle</a:t>
            </a:r>
            <a:endParaRPr lang="de-DE"/>
          </a:p>
        </p:txBody>
      </p:sp>
      <p:sp>
        <p:nvSpPr>
          <p:cNvPr id="6" name="Ellipse 5"/>
          <p:cNvSpPr/>
          <p:nvPr userDrawn="1"/>
        </p:nvSpPr>
        <p:spPr>
          <a:xfrm>
            <a:off x="7338838" y="3822860"/>
            <a:ext cx="1262031" cy="92694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sz="900">
              <a:solidFill>
                <a:schemeClr val="bg1"/>
              </a:solidFill>
              <a:latin typeface="Univers for KPMG" panose="020B0603020202020204" pitchFamily="34" charset="0"/>
              <a:cs typeface="KPMG Extralight"/>
            </a:endParaRPr>
          </a:p>
        </p:txBody>
      </p:sp>
      <p:sp>
        <p:nvSpPr>
          <p:cNvPr id="17" name="Rechteck 16"/>
          <p:cNvSpPr/>
          <p:nvPr userDrawn="1"/>
        </p:nvSpPr>
        <p:spPr>
          <a:xfrm>
            <a:off x="8360020" y="2470439"/>
            <a:ext cx="565931" cy="174568"/>
          </a:xfrm>
          <a:prstGeom prst="rect">
            <a:avLst/>
          </a:prstGeom>
          <a:solidFill>
            <a:srgbClr val="00338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sz="900">
              <a:solidFill>
                <a:schemeClr val="bg1"/>
              </a:solidFill>
              <a:latin typeface="Univers for KPMG" panose="020B0603020202020204" pitchFamily="34" charset="0"/>
              <a:cs typeface="KPMG Extralight"/>
            </a:endParaRPr>
          </a:p>
        </p:txBody>
      </p:sp>
      <p:sp>
        <p:nvSpPr>
          <p:cNvPr id="11" name="Ellipse 10"/>
          <p:cNvSpPr/>
          <p:nvPr userDrawn="1"/>
        </p:nvSpPr>
        <p:spPr>
          <a:xfrm>
            <a:off x="7097819" y="3171236"/>
            <a:ext cx="731158" cy="53464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sz="900">
              <a:solidFill>
                <a:schemeClr val="bg1"/>
              </a:solidFill>
              <a:latin typeface="Univers for KPMG" panose="020B0603020202020204" pitchFamily="34" charset="0"/>
              <a:cs typeface="KPMG Extralight"/>
            </a:endParaRPr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7224819" y="3263114"/>
            <a:ext cx="477158" cy="356039"/>
            <a:chOff x="5289780" y="1914506"/>
            <a:chExt cx="713689" cy="655423"/>
          </a:xfrm>
        </p:grpSpPr>
        <p:grpSp>
          <p:nvGrpSpPr>
            <p:cNvPr id="13" name="Gruppieren 12"/>
            <p:cNvGrpSpPr/>
            <p:nvPr/>
          </p:nvGrpSpPr>
          <p:grpSpPr>
            <a:xfrm>
              <a:off x="5289780" y="1968222"/>
              <a:ext cx="713689" cy="601707"/>
              <a:chOff x="974608" y="3043077"/>
              <a:chExt cx="562148" cy="448539"/>
            </a:xfrm>
          </p:grpSpPr>
          <p:sp>
            <p:nvSpPr>
              <p:cNvPr id="29" name="Freeform 85"/>
              <p:cNvSpPr>
                <a:spLocks/>
              </p:cNvSpPr>
              <p:nvPr/>
            </p:nvSpPr>
            <p:spPr bwMode="auto">
              <a:xfrm>
                <a:off x="1153138" y="3386859"/>
                <a:ext cx="149021" cy="64920"/>
              </a:xfrm>
              <a:custGeom>
                <a:avLst/>
                <a:gdLst>
                  <a:gd name="T0" fmla="*/ 10 w 101"/>
                  <a:gd name="T1" fmla="*/ 0 h 44"/>
                  <a:gd name="T2" fmla="*/ 10 w 101"/>
                  <a:gd name="T3" fmla="*/ 0 h 44"/>
                  <a:gd name="T4" fmla="*/ 0 w 101"/>
                  <a:gd name="T5" fmla="*/ 44 h 44"/>
                  <a:gd name="T6" fmla="*/ 0 w 101"/>
                  <a:gd name="T7" fmla="*/ 44 h 44"/>
                  <a:gd name="T8" fmla="*/ 101 w 101"/>
                  <a:gd name="T9" fmla="*/ 44 h 44"/>
                  <a:gd name="T10" fmla="*/ 101 w 101"/>
                  <a:gd name="T11" fmla="*/ 44 h 44"/>
                  <a:gd name="T12" fmla="*/ 90 w 101"/>
                  <a:gd name="T13" fmla="*/ 0 h 44"/>
                  <a:gd name="T14" fmla="*/ 90 w 101"/>
                  <a:gd name="T15" fmla="*/ 0 h 44"/>
                  <a:gd name="T16" fmla="*/ 10 w 101"/>
                  <a:gd name="T17" fmla="*/ 0 h 44"/>
                  <a:gd name="T18" fmla="*/ 10 w 101"/>
                  <a:gd name="T1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1" h="44">
                    <a:moveTo>
                      <a:pt x="10" y="0"/>
                    </a:moveTo>
                    <a:lnTo>
                      <a:pt x="10" y="0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101" y="44"/>
                    </a:lnTo>
                    <a:lnTo>
                      <a:pt x="101" y="44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A6DA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de-DE" sz="1350"/>
              </a:p>
            </p:txBody>
          </p:sp>
          <p:sp>
            <p:nvSpPr>
              <p:cNvPr id="30" name="Freeform 86"/>
              <p:cNvSpPr>
                <a:spLocks/>
              </p:cNvSpPr>
              <p:nvPr/>
            </p:nvSpPr>
            <p:spPr bwMode="auto">
              <a:xfrm>
                <a:off x="1135432" y="3450303"/>
                <a:ext cx="182956" cy="13280"/>
              </a:xfrm>
              <a:custGeom>
                <a:avLst/>
                <a:gdLst>
                  <a:gd name="T0" fmla="*/ 119 w 124"/>
                  <a:gd name="T1" fmla="*/ 0 h 9"/>
                  <a:gd name="T2" fmla="*/ 5 w 124"/>
                  <a:gd name="T3" fmla="*/ 0 h 9"/>
                  <a:gd name="T4" fmla="*/ 5 w 124"/>
                  <a:gd name="T5" fmla="*/ 0 h 9"/>
                  <a:gd name="T6" fmla="*/ 3 w 124"/>
                  <a:gd name="T7" fmla="*/ 1 h 9"/>
                  <a:gd name="T8" fmla="*/ 2 w 124"/>
                  <a:gd name="T9" fmla="*/ 2 h 9"/>
                  <a:gd name="T10" fmla="*/ 1 w 124"/>
                  <a:gd name="T11" fmla="*/ 5 h 9"/>
                  <a:gd name="T12" fmla="*/ 0 w 124"/>
                  <a:gd name="T13" fmla="*/ 7 h 9"/>
                  <a:gd name="T14" fmla="*/ 0 w 124"/>
                  <a:gd name="T15" fmla="*/ 9 h 9"/>
                  <a:gd name="T16" fmla="*/ 124 w 124"/>
                  <a:gd name="T17" fmla="*/ 9 h 9"/>
                  <a:gd name="T18" fmla="*/ 124 w 124"/>
                  <a:gd name="T19" fmla="*/ 7 h 9"/>
                  <a:gd name="T20" fmla="*/ 124 w 124"/>
                  <a:gd name="T21" fmla="*/ 7 h 9"/>
                  <a:gd name="T22" fmla="*/ 124 w 124"/>
                  <a:gd name="T23" fmla="*/ 5 h 9"/>
                  <a:gd name="T24" fmla="*/ 123 w 124"/>
                  <a:gd name="T25" fmla="*/ 2 h 9"/>
                  <a:gd name="T26" fmla="*/ 121 w 124"/>
                  <a:gd name="T27" fmla="*/ 1 h 9"/>
                  <a:gd name="T28" fmla="*/ 119 w 124"/>
                  <a:gd name="T29" fmla="*/ 0 h 9"/>
                  <a:gd name="T30" fmla="*/ 119 w 124"/>
                  <a:gd name="T3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4" h="9">
                    <a:moveTo>
                      <a:pt x="119" y="0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2" y="2"/>
                    </a:lnTo>
                    <a:lnTo>
                      <a:pt x="1" y="5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124" y="9"/>
                    </a:lnTo>
                    <a:lnTo>
                      <a:pt x="124" y="7"/>
                    </a:lnTo>
                    <a:lnTo>
                      <a:pt x="124" y="7"/>
                    </a:lnTo>
                    <a:lnTo>
                      <a:pt x="124" y="5"/>
                    </a:lnTo>
                    <a:lnTo>
                      <a:pt x="123" y="2"/>
                    </a:lnTo>
                    <a:lnTo>
                      <a:pt x="121" y="1"/>
                    </a:lnTo>
                    <a:lnTo>
                      <a:pt x="119" y="0"/>
                    </a:lnTo>
                    <a:lnTo>
                      <a:pt x="11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de-DE" sz="1350"/>
              </a:p>
            </p:txBody>
          </p:sp>
          <p:sp>
            <p:nvSpPr>
              <p:cNvPr id="31" name="Freeform 87"/>
              <p:cNvSpPr>
                <a:spLocks/>
              </p:cNvSpPr>
              <p:nvPr/>
            </p:nvSpPr>
            <p:spPr bwMode="auto">
              <a:xfrm>
                <a:off x="974608" y="3361776"/>
                <a:ext cx="504605" cy="48690"/>
              </a:xfrm>
              <a:custGeom>
                <a:avLst/>
                <a:gdLst>
                  <a:gd name="T0" fmla="*/ 0 w 342"/>
                  <a:gd name="T1" fmla="*/ 0 h 33"/>
                  <a:gd name="T2" fmla="*/ 0 w 342"/>
                  <a:gd name="T3" fmla="*/ 24 h 33"/>
                  <a:gd name="T4" fmla="*/ 0 w 342"/>
                  <a:gd name="T5" fmla="*/ 24 h 33"/>
                  <a:gd name="T6" fmla="*/ 1 w 342"/>
                  <a:gd name="T7" fmla="*/ 27 h 33"/>
                  <a:gd name="T8" fmla="*/ 2 w 342"/>
                  <a:gd name="T9" fmla="*/ 31 h 33"/>
                  <a:gd name="T10" fmla="*/ 5 w 342"/>
                  <a:gd name="T11" fmla="*/ 32 h 33"/>
                  <a:gd name="T12" fmla="*/ 9 w 342"/>
                  <a:gd name="T13" fmla="*/ 33 h 33"/>
                  <a:gd name="T14" fmla="*/ 334 w 342"/>
                  <a:gd name="T15" fmla="*/ 33 h 33"/>
                  <a:gd name="T16" fmla="*/ 334 w 342"/>
                  <a:gd name="T17" fmla="*/ 33 h 33"/>
                  <a:gd name="T18" fmla="*/ 337 w 342"/>
                  <a:gd name="T19" fmla="*/ 32 h 33"/>
                  <a:gd name="T20" fmla="*/ 340 w 342"/>
                  <a:gd name="T21" fmla="*/ 31 h 33"/>
                  <a:gd name="T22" fmla="*/ 341 w 342"/>
                  <a:gd name="T23" fmla="*/ 27 h 33"/>
                  <a:gd name="T24" fmla="*/ 342 w 342"/>
                  <a:gd name="T25" fmla="*/ 24 h 33"/>
                  <a:gd name="T26" fmla="*/ 342 w 342"/>
                  <a:gd name="T27" fmla="*/ 0 h 33"/>
                  <a:gd name="T28" fmla="*/ 0 w 342"/>
                  <a:gd name="T2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2" h="33">
                    <a:moveTo>
                      <a:pt x="0" y="0"/>
                    </a:moveTo>
                    <a:lnTo>
                      <a:pt x="0" y="24"/>
                    </a:lnTo>
                    <a:lnTo>
                      <a:pt x="0" y="24"/>
                    </a:lnTo>
                    <a:lnTo>
                      <a:pt x="1" y="27"/>
                    </a:lnTo>
                    <a:lnTo>
                      <a:pt x="2" y="31"/>
                    </a:lnTo>
                    <a:lnTo>
                      <a:pt x="5" y="32"/>
                    </a:lnTo>
                    <a:lnTo>
                      <a:pt x="9" y="33"/>
                    </a:lnTo>
                    <a:lnTo>
                      <a:pt x="334" y="33"/>
                    </a:lnTo>
                    <a:lnTo>
                      <a:pt x="334" y="33"/>
                    </a:lnTo>
                    <a:lnTo>
                      <a:pt x="337" y="32"/>
                    </a:lnTo>
                    <a:lnTo>
                      <a:pt x="340" y="31"/>
                    </a:lnTo>
                    <a:lnTo>
                      <a:pt x="341" y="27"/>
                    </a:lnTo>
                    <a:lnTo>
                      <a:pt x="342" y="24"/>
                    </a:lnTo>
                    <a:lnTo>
                      <a:pt x="34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de-DE" sz="1350"/>
              </a:p>
            </p:txBody>
          </p:sp>
          <p:sp>
            <p:nvSpPr>
              <p:cNvPr id="32" name="Freeform 88"/>
              <p:cNvSpPr>
                <a:spLocks/>
              </p:cNvSpPr>
              <p:nvPr/>
            </p:nvSpPr>
            <p:spPr bwMode="auto">
              <a:xfrm>
                <a:off x="974608" y="3043077"/>
                <a:ext cx="504605" cy="318698"/>
              </a:xfrm>
              <a:custGeom>
                <a:avLst/>
                <a:gdLst>
                  <a:gd name="T0" fmla="*/ 342 w 342"/>
                  <a:gd name="T1" fmla="*/ 216 h 216"/>
                  <a:gd name="T2" fmla="*/ 342 w 342"/>
                  <a:gd name="T3" fmla="*/ 9 h 216"/>
                  <a:gd name="T4" fmla="*/ 342 w 342"/>
                  <a:gd name="T5" fmla="*/ 9 h 216"/>
                  <a:gd name="T6" fmla="*/ 341 w 342"/>
                  <a:gd name="T7" fmla="*/ 5 h 216"/>
                  <a:gd name="T8" fmla="*/ 340 w 342"/>
                  <a:gd name="T9" fmla="*/ 2 h 216"/>
                  <a:gd name="T10" fmla="*/ 337 w 342"/>
                  <a:gd name="T11" fmla="*/ 1 h 216"/>
                  <a:gd name="T12" fmla="*/ 334 w 342"/>
                  <a:gd name="T13" fmla="*/ 0 h 216"/>
                  <a:gd name="T14" fmla="*/ 9 w 342"/>
                  <a:gd name="T15" fmla="*/ 0 h 216"/>
                  <a:gd name="T16" fmla="*/ 9 w 342"/>
                  <a:gd name="T17" fmla="*/ 0 h 216"/>
                  <a:gd name="T18" fmla="*/ 5 w 342"/>
                  <a:gd name="T19" fmla="*/ 1 h 216"/>
                  <a:gd name="T20" fmla="*/ 2 w 342"/>
                  <a:gd name="T21" fmla="*/ 2 h 216"/>
                  <a:gd name="T22" fmla="*/ 1 w 342"/>
                  <a:gd name="T23" fmla="*/ 5 h 216"/>
                  <a:gd name="T24" fmla="*/ 0 w 342"/>
                  <a:gd name="T25" fmla="*/ 9 h 216"/>
                  <a:gd name="T26" fmla="*/ 0 w 342"/>
                  <a:gd name="T27" fmla="*/ 216 h 216"/>
                  <a:gd name="T28" fmla="*/ 342 w 342"/>
                  <a:gd name="T29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2" h="216">
                    <a:moveTo>
                      <a:pt x="342" y="216"/>
                    </a:moveTo>
                    <a:lnTo>
                      <a:pt x="342" y="9"/>
                    </a:lnTo>
                    <a:lnTo>
                      <a:pt x="342" y="9"/>
                    </a:lnTo>
                    <a:lnTo>
                      <a:pt x="341" y="5"/>
                    </a:lnTo>
                    <a:lnTo>
                      <a:pt x="340" y="2"/>
                    </a:lnTo>
                    <a:lnTo>
                      <a:pt x="337" y="1"/>
                    </a:lnTo>
                    <a:lnTo>
                      <a:pt x="334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5" y="1"/>
                    </a:lnTo>
                    <a:lnTo>
                      <a:pt x="2" y="2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216"/>
                    </a:lnTo>
                    <a:lnTo>
                      <a:pt x="342" y="216"/>
                    </a:lnTo>
                    <a:close/>
                  </a:path>
                </a:pathLst>
              </a:custGeom>
              <a:solidFill>
                <a:srgbClr val="0E30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de-DE" sz="1350"/>
              </a:p>
            </p:txBody>
          </p:sp>
          <p:sp>
            <p:nvSpPr>
              <p:cNvPr id="33" name="Rectangle 89"/>
              <p:cNvSpPr>
                <a:spLocks noChangeArrowheads="1"/>
              </p:cNvSpPr>
              <p:nvPr/>
            </p:nvSpPr>
            <p:spPr bwMode="auto">
              <a:xfrm>
                <a:off x="995264" y="3062259"/>
                <a:ext cx="463292" cy="277385"/>
              </a:xfrm>
              <a:prstGeom prst="rect">
                <a:avLst/>
              </a:prstGeom>
              <a:solidFill>
                <a:srgbClr val="15B0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de-DE" sz="1350"/>
              </a:p>
            </p:txBody>
          </p:sp>
          <p:sp>
            <p:nvSpPr>
              <p:cNvPr id="34" name="Freeform 90"/>
              <p:cNvSpPr>
                <a:spLocks/>
              </p:cNvSpPr>
              <p:nvPr/>
            </p:nvSpPr>
            <p:spPr bwMode="auto">
              <a:xfrm>
                <a:off x="995264" y="3062259"/>
                <a:ext cx="463292" cy="277385"/>
              </a:xfrm>
              <a:custGeom>
                <a:avLst/>
                <a:gdLst>
                  <a:gd name="T0" fmla="*/ 0 w 314"/>
                  <a:gd name="T1" fmla="*/ 188 h 188"/>
                  <a:gd name="T2" fmla="*/ 314 w 314"/>
                  <a:gd name="T3" fmla="*/ 0 h 188"/>
                  <a:gd name="T4" fmla="*/ 314 w 314"/>
                  <a:gd name="T5" fmla="*/ 188 h 188"/>
                  <a:gd name="T6" fmla="*/ 0 w 314"/>
                  <a:gd name="T7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4" h="188">
                    <a:moveTo>
                      <a:pt x="0" y="188"/>
                    </a:moveTo>
                    <a:lnTo>
                      <a:pt x="314" y="0"/>
                    </a:lnTo>
                    <a:lnTo>
                      <a:pt x="314" y="188"/>
                    </a:lnTo>
                    <a:lnTo>
                      <a:pt x="0" y="188"/>
                    </a:lnTo>
                    <a:close/>
                  </a:path>
                </a:pathLst>
              </a:custGeom>
              <a:solidFill>
                <a:srgbClr val="1695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de-DE" sz="1350"/>
              </a:p>
            </p:txBody>
          </p:sp>
          <p:sp>
            <p:nvSpPr>
              <p:cNvPr id="35" name="Freeform 113"/>
              <p:cNvSpPr>
                <a:spLocks/>
              </p:cNvSpPr>
              <p:nvPr/>
            </p:nvSpPr>
            <p:spPr bwMode="auto">
              <a:xfrm>
                <a:off x="1383309" y="3190623"/>
                <a:ext cx="153447" cy="300993"/>
              </a:xfrm>
              <a:custGeom>
                <a:avLst/>
                <a:gdLst>
                  <a:gd name="T0" fmla="*/ 88 w 104"/>
                  <a:gd name="T1" fmla="*/ 0 h 204"/>
                  <a:gd name="T2" fmla="*/ 17 w 104"/>
                  <a:gd name="T3" fmla="*/ 0 h 204"/>
                  <a:gd name="T4" fmla="*/ 17 w 104"/>
                  <a:gd name="T5" fmla="*/ 0 h 204"/>
                  <a:gd name="T6" fmla="*/ 10 w 104"/>
                  <a:gd name="T7" fmla="*/ 1 h 204"/>
                  <a:gd name="T8" fmla="*/ 5 w 104"/>
                  <a:gd name="T9" fmla="*/ 4 h 204"/>
                  <a:gd name="T10" fmla="*/ 1 w 104"/>
                  <a:gd name="T11" fmla="*/ 10 h 204"/>
                  <a:gd name="T12" fmla="*/ 0 w 104"/>
                  <a:gd name="T13" fmla="*/ 15 h 204"/>
                  <a:gd name="T14" fmla="*/ 0 w 104"/>
                  <a:gd name="T15" fmla="*/ 188 h 204"/>
                  <a:gd name="T16" fmla="*/ 0 w 104"/>
                  <a:gd name="T17" fmla="*/ 188 h 204"/>
                  <a:gd name="T18" fmla="*/ 1 w 104"/>
                  <a:gd name="T19" fmla="*/ 195 h 204"/>
                  <a:gd name="T20" fmla="*/ 5 w 104"/>
                  <a:gd name="T21" fmla="*/ 199 h 204"/>
                  <a:gd name="T22" fmla="*/ 10 w 104"/>
                  <a:gd name="T23" fmla="*/ 203 h 204"/>
                  <a:gd name="T24" fmla="*/ 17 w 104"/>
                  <a:gd name="T25" fmla="*/ 204 h 204"/>
                  <a:gd name="T26" fmla="*/ 88 w 104"/>
                  <a:gd name="T27" fmla="*/ 204 h 204"/>
                  <a:gd name="T28" fmla="*/ 88 w 104"/>
                  <a:gd name="T29" fmla="*/ 204 h 204"/>
                  <a:gd name="T30" fmla="*/ 95 w 104"/>
                  <a:gd name="T31" fmla="*/ 203 h 204"/>
                  <a:gd name="T32" fmla="*/ 100 w 104"/>
                  <a:gd name="T33" fmla="*/ 199 h 204"/>
                  <a:gd name="T34" fmla="*/ 103 w 104"/>
                  <a:gd name="T35" fmla="*/ 195 h 204"/>
                  <a:gd name="T36" fmla="*/ 104 w 104"/>
                  <a:gd name="T37" fmla="*/ 188 h 204"/>
                  <a:gd name="T38" fmla="*/ 104 w 104"/>
                  <a:gd name="T39" fmla="*/ 15 h 204"/>
                  <a:gd name="T40" fmla="*/ 104 w 104"/>
                  <a:gd name="T41" fmla="*/ 15 h 204"/>
                  <a:gd name="T42" fmla="*/ 103 w 104"/>
                  <a:gd name="T43" fmla="*/ 10 h 204"/>
                  <a:gd name="T44" fmla="*/ 100 w 104"/>
                  <a:gd name="T45" fmla="*/ 4 h 204"/>
                  <a:gd name="T46" fmla="*/ 95 w 104"/>
                  <a:gd name="T47" fmla="*/ 1 h 204"/>
                  <a:gd name="T48" fmla="*/ 88 w 104"/>
                  <a:gd name="T49" fmla="*/ 0 h 204"/>
                  <a:gd name="T50" fmla="*/ 88 w 104"/>
                  <a:gd name="T51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4" h="204">
                    <a:moveTo>
                      <a:pt x="88" y="0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10" y="1"/>
                    </a:lnTo>
                    <a:lnTo>
                      <a:pt x="5" y="4"/>
                    </a:lnTo>
                    <a:lnTo>
                      <a:pt x="1" y="10"/>
                    </a:lnTo>
                    <a:lnTo>
                      <a:pt x="0" y="15"/>
                    </a:lnTo>
                    <a:lnTo>
                      <a:pt x="0" y="188"/>
                    </a:lnTo>
                    <a:lnTo>
                      <a:pt x="0" y="188"/>
                    </a:lnTo>
                    <a:lnTo>
                      <a:pt x="1" y="195"/>
                    </a:lnTo>
                    <a:lnTo>
                      <a:pt x="5" y="199"/>
                    </a:lnTo>
                    <a:lnTo>
                      <a:pt x="10" y="203"/>
                    </a:lnTo>
                    <a:lnTo>
                      <a:pt x="17" y="204"/>
                    </a:lnTo>
                    <a:lnTo>
                      <a:pt x="88" y="204"/>
                    </a:lnTo>
                    <a:lnTo>
                      <a:pt x="88" y="204"/>
                    </a:lnTo>
                    <a:lnTo>
                      <a:pt x="95" y="203"/>
                    </a:lnTo>
                    <a:lnTo>
                      <a:pt x="100" y="199"/>
                    </a:lnTo>
                    <a:lnTo>
                      <a:pt x="103" y="195"/>
                    </a:lnTo>
                    <a:lnTo>
                      <a:pt x="104" y="188"/>
                    </a:lnTo>
                    <a:lnTo>
                      <a:pt x="104" y="15"/>
                    </a:lnTo>
                    <a:lnTo>
                      <a:pt x="104" y="15"/>
                    </a:lnTo>
                    <a:lnTo>
                      <a:pt x="103" y="10"/>
                    </a:lnTo>
                    <a:lnTo>
                      <a:pt x="100" y="4"/>
                    </a:lnTo>
                    <a:lnTo>
                      <a:pt x="95" y="1"/>
                    </a:lnTo>
                    <a:lnTo>
                      <a:pt x="88" y="0"/>
                    </a:lnTo>
                    <a:lnTo>
                      <a:pt x="88" y="0"/>
                    </a:lnTo>
                    <a:close/>
                  </a:path>
                </a:pathLst>
              </a:custGeom>
              <a:solidFill>
                <a:srgbClr val="0E30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de-DE" sz="1350"/>
              </a:p>
            </p:txBody>
          </p:sp>
          <p:sp>
            <p:nvSpPr>
              <p:cNvPr id="36" name="Freeform 114"/>
              <p:cNvSpPr>
                <a:spLocks/>
              </p:cNvSpPr>
              <p:nvPr/>
            </p:nvSpPr>
            <p:spPr bwMode="auto">
              <a:xfrm>
                <a:off x="1439376" y="3208328"/>
                <a:ext cx="44264" cy="2951"/>
              </a:xfrm>
              <a:custGeom>
                <a:avLst/>
                <a:gdLst>
                  <a:gd name="T0" fmla="*/ 1 w 30"/>
                  <a:gd name="T1" fmla="*/ 0 h 2"/>
                  <a:gd name="T2" fmla="*/ 28 w 30"/>
                  <a:gd name="T3" fmla="*/ 0 h 2"/>
                  <a:gd name="T4" fmla="*/ 28 w 30"/>
                  <a:gd name="T5" fmla="*/ 0 h 2"/>
                  <a:gd name="T6" fmla="*/ 30 w 30"/>
                  <a:gd name="T7" fmla="*/ 0 h 2"/>
                  <a:gd name="T8" fmla="*/ 30 w 30"/>
                  <a:gd name="T9" fmla="*/ 1 h 2"/>
                  <a:gd name="T10" fmla="*/ 30 w 30"/>
                  <a:gd name="T11" fmla="*/ 1 h 2"/>
                  <a:gd name="T12" fmla="*/ 30 w 30"/>
                  <a:gd name="T13" fmla="*/ 2 h 2"/>
                  <a:gd name="T14" fmla="*/ 28 w 30"/>
                  <a:gd name="T15" fmla="*/ 2 h 2"/>
                  <a:gd name="T16" fmla="*/ 1 w 30"/>
                  <a:gd name="T17" fmla="*/ 2 h 2"/>
                  <a:gd name="T18" fmla="*/ 1 w 30"/>
                  <a:gd name="T19" fmla="*/ 2 h 2"/>
                  <a:gd name="T20" fmla="*/ 0 w 30"/>
                  <a:gd name="T21" fmla="*/ 2 h 2"/>
                  <a:gd name="T22" fmla="*/ 0 w 30"/>
                  <a:gd name="T23" fmla="*/ 1 h 2"/>
                  <a:gd name="T24" fmla="*/ 0 w 30"/>
                  <a:gd name="T25" fmla="*/ 1 h 2"/>
                  <a:gd name="T26" fmla="*/ 0 w 30"/>
                  <a:gd name="T27" fmla="*/ 0 h 2"/>
                  <a:gd name="T28" fmla="*/ 1 w 30"/>
                  <a:gd name="T29" fmla="*/ 0 h 2"/>
                  <a:gd name="T30" fmla="*/ 1 w 30"/>
                  <a:gd name="T3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0" h="2">
                    <a:moveTo>
                      <a:pt x="1" y="0"/>
                    </a:moveTo>
                    <a:lnTo>
                      <a:pt x="28" y="0"/>
                    </a:lnTo>
                    <a:lnTo>
                      <a:pt x="28" y="0"/>
                    </a:lnTo>
                    <a:lnTo>
                      <a:pt x="30" y="0"/>
                    </a:lnTo>
                    <a:lnTo>
                      <a:pt x="30" y="1"/>
                    </a:lnTo>
                    <a:lnTo>
                      <a:pt x="30" y="1"/>
                    </a:lnTo>
                    <a:lnTo>
                      <a:pt x="30" y="2"/>
                    </a:lnTo>
                    <a:lnTo>
                      <a:pt x="28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de-DE" sz="1350"/>
              </a:p>
            </p:txBody>
          </p:sp>
          <p:sp>
            <p:nvSpPr>
              <p:cNvPr id="37" name="Rectangle 115"/>
              <p:cNvSpPr>
                <a:spLocks noChangeArrowheads="1"/>
              </p:cNvSpPr>
              <p:nvPr/>
            </p:nvSpPr>
            <p:spPr bwMode="auto">
              <a:xfrm>
                <a:off x="1393636" y="3236362"/>
                <a:ext cx="132791" cy="196236"/>
              </a:xfrm>
              <a:prstGeom prst="rect">
                <a:avLst/>
              </a:prstGeom>
              <a:solidFill>
                <a:srgbClr val="A6DA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de-DE" sz="1350"/>
              </a:p>
            </p:txBody>
          </p:sp>
          <p:sp>
            <p:nvSpPr>
              <p:cNvPr id="38" name="Freeform 116"/>
              <p:cNvSpPr>
                <a:spLocks/>
              </p:cNvSpPr>
              <p:nvPr/>
            </p:nvSpPr>
            <p:spPr bwMode="auto">
              <a:xfrm>
                <a:off x="1393636" y="3236362"/>
                <a:ext cx="132791" cy="196236"/>
              </a:xfrm>
              <a:custGeom>
                <a:avLst/>
                <a:gdLst>
                  <a:gd name="T0" fmla="*/ 0 w 90"/>
                  <a:gd name="T1" fmla="*/ 133 h 133"/>
                  <a:gd name="T2" fmla="*/ 90 w 90"/>
                  <a:gd name="T3" fmla="*/ 133 h 133"/>
                  <a:gd name="T4" fmla="*/ 90 w 90"/>
                  <a:gd name="T5" fmla="*/ 0 h 133"/>
                  <a:gd name="T6" fmla="*/ 0 w 90"/>
                  <a:gd name="T7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133">
                    <a:moveTo>
                      <a:pt x="0" y="133"/>
                    </a:moveTo>
                    <a:lnTo>
                      <a:pt x="90" y="133"/>
                    </a:lnTo>
                    <a:lnTo>
                      <a:pt x="90" y="0"/>
                    </a:lnTo>
                    <a:lnTo>
                      <a:pt x="0" y="133"/>
                    </a:lnTo>
                    <a:close/>
                  </a:path>
                </a:pathLst>
              </a:custGeom>
              <a:solidFill>
                <a:srgbClr val="8FC4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de-DE" sz="1350"/>
              </a:p>
            </p:txBody>
          </p:sp>
          <p:sp>
            <p:nvSpPr>
              <p:cNvPr id="39" name="Freeform 451"/>
              <p:cNvSpPr>
                <a:spLocks/>
              </p:cNvSpPr>
              <p:nvPr/>
            </p:nvSpPr>
            <p:spPr bwMode="auto">
              <a:xfrm>
                <a:off x="995264" y="3382432"/>
                <a:ext cx="23607" cy="4427"/>
              </a:xfrm>
              <a:custGeom>
                <a:avLst/>
                <a:gdLst>
                  <a:gd name="T0" fmla="*/ 16 w 16"/>
                  <a:gd name="T1" fmla="*/ 1 h 3"/>
                  <a:gd name="T2" fmla="*/ 16 w 16"/>
                  <a:gd name="T3" fmla="*/ 1 h 3"/>
                  <a:gd name="T4" fmla="*/ 16 w 16"/>
                  <a:gd name="T5" fmla="*/ 3 h 3"/>
                  <a:gd name="T6" fmla="*/ 14 w 16"/>
                  <a:gd name="T7" fmla="*/ 3 h 3"/>
                  <a:gd name="T8" fmla="*/ 2 w 16"/>
                  <a:gd name="T9" fmla="*/ 3 h 3"/>
                  <a:gd name="T10" fmla="*/ 2 w 16"/>
                  <a:gd name="T11" fmla="*/ 3 h 3"/>
                  <a:gd name="T12" fmla="*/ 1 w 16"/>
                  <a:gd name="T13" fmla="*/ 3 h 3"/>
                  <a:gd name="T14" fmla="*/ 0 w 16"/>
                  <a:gd name="T15" fmla="*/ 1 h 3"/>
                  <a:gd name="T16" fmla="*/ 0 w 16"/>
                  <a:gd name="T17" fmla="*/ 1 h 3"/>
                  <a:gd name="T18" fmla="*/ 1 w 16"/>
                  <a:gd name="T19" fmla="*/ 0 h 3"/>
                  <a:gd name="T20" fmla="*/ 2 w 16"/>
                  <a:gd name="T21" fmla="*/ 0 h 3"/>
                  <a:gd name="T22" fmla="*/ 14 w 16"/>
                  <a:gd name="T23" fmla="*/ 0 h 3"/>
                  <a:gd name="T24" fmla="*/ 14 w 16"/>
                  <a:gd name="T25" fmla="*/ 0 h 3"/>
                  <a:gd name="T26" fmla="*/ 16 w 16"/>
                  <a:gd name="T27" fmla="*/ 0 h 3"/>
                  <a:gd name="T28" fmla="*/ 16 w 16"/>
                  <a:gd name="T29" fmla="*/ 1 h 3"/>
                  <a:gd name="T30" fmla="*/ 16 w 16"/>
                  <a:gd name="T31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" h="3">
                    <a:moveTo>
                      <a:pt x="16" y="1"/>
                    </a:moveTo>
                    <a:lnTo>
                      <a:pt x="16" y="1"/>
                    </a:lnTo>
                    <a:lnTo>
                      <a:pt x="16" y="3"/>
                    </a:lnTo>
                    <a:lnTo>
                      <a:pt x="14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1" y="3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2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6" y="0"/>
                    </a:lnTo>
                    <a:lnTo>
                      <a:pt x="16" y="1"/>
                    </a:lnTo>
                    <a:lnTo>
                      <a:pt x="16" y="1"/>
                    </a:lnTo>
                    <a:close/>
                  </a:path>
                </a:pathLst>
              </a:custGeom>
              <a:solidFill>
                <a:srgbClr val="15B0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de-DE" sz="1350"/>
              </a:p>
            </p:txBody>
          </p:sp>
        </p:grpSp>
        <p:pic>
          <p:nvPicPr>
            <p:cNvPr id="14" name="Picture 74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16702" y="1914506"/>
              <a:ext cx="490808" cy="484200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5" name="Gruppieren 14"/>
            <p:cNvGrpSpPr/>
            <p:nvPr/>
          </p:nvGrpSpPr>
          <p:grpSpPr>
            <a:xfrm>
              <a:off x="5330990" y="2056715"/>
              <a:ext cx="259979" cy="232241"/>
              <a:chOff x="3800592" y="3390384"/>
              <a:chExt cx="952141" cy="932755"/>
            </a:xfrm>
          </p:grpSpPr>
          <p:sp>
            <p:nvSpPr>
              <p:cNvPr id="16" name="Freeform 553"/>
              <p:cNvSpPr>
                <a:spLocks/>
              </p:cNvSpPr>
              <p:nvPr/>
            </p:nvSpPr>
            <p:spPr bwMode="auto">
              <a:xfrm>
                <a:off x="3800592" y="3390384"/>
                <a:ext cx="876745" cy="797042"/>
              </a:xfrm>
              <a:custGeom>
                <a:avLst/>
                <a:gdLst>
                  <a:gd name="T0" fmla="*/ 181 w 407"/>
                  <a:gd name="T1" fmla="*/ 370 h 370"/>
                  <a:gd name="T2" fmla="*/ 181 w 407"/>
                  <a:gd name="T3" fmla="*/ 370 h 370"/>
                  <a:gd name="T4" fmla="*/ 177 w 407"/>
                  <a:gd name="T5" fmla="*/ 370 h 370"/>
                  <a:gd name="T6" fmla="*/ 172 w 407"/>
                  <a:gd name="T7" fmla="*/ 367 h 370"/>
                  <a:gd name="T8" fmla="*/ 169 w 407"/>
                  <a:gd name="T9" fmla="*/ 364 h 370"/>
                  <a:gd name="T10" fmla="*/ 168 w 407"/>
                  <a:gd name="T11" fmla="*/ 360 h 370"/>
                  <a:gd name="T12" fmla="*/ 82 w 407"/>
                  <a:gd name="T13" fmla="*/ 77 h 370"/>
                  <a:gd name="T14" fmla="*/ 6 w 407"/>
                  <a:gd name="T15" fmla="*/ 26 h 370"/>
                  <a:gd name="T16" fmla="*/ 6 w 407"/>
                  <a:gd name="T17" fmla="*/ 26 h 370"/>
                  <a:gd name="T18" fmla="*/ 3 w 407"/>
                  <a:gd name="T19" fmla="*/ 22 h 370"/>
                  <a:gd name="T20" fmla="*/ 0 w 407"/>
                  <a:gd name="T21" fmla="*/ 17 h 370"/>
                  <a:gd name="T22" fmla="*/ 0 w 407"/>
                  <a:gd name="T23" fmla="*/ 11 h 370"/>
                  <a:gd name="T24" fmla="*/ 3 w 407"/>
                  <a:gd name="T25" fmla="*/ 6 h 370"/>
                  <a:gd name="T26" fmla="*/ 3 w 407"/>
                  <a:gd name="T27" fmla="*/ 6 h 370"/>
                  <a:gd name="T28" fmla="*/ 7 w 407"/>
                  <a:gd name="T29" fmla="*/ 3 h 370"/>
                  <a:gd name="T30" fmla="*/ 11 w 407"/>
                  <a:gd name="T31" fmla="*/ 0 h 370"/>
                  <a:gd name="T32" fmla="*/ 17 w 407"/>
                  <a:gd name="T33" fmla="*/ 0 h 370"/>
                  <a:gd name="T34" fmla="*/ 23 w 407"/>
                  <a:gd name="T35" fmla="*/ 3 h 370"/>
                  <a:gd name="T36" fmla="*/ 102 w 407"/>
                  <a:gd name="T37" fmla="*/ 57 h 370"/>
                  <a:gd name="T38" fmla="*/ 102 w 407"/>
                  <a:gd name="T39" fmla="*/ 57 h 370"/>
                  <a:gd name="T40" fmla="*/ 107 w 407"/>
                  <a:gd name="T41" fmla="*/ 60 h 370"/>
                  <a:gd name="T42" fmla="*/ 108 w 407"/>
                  <a:gd name="T43" fmla="*/ 64 h 370"/>
                  <a:gd name="T44" fmla="*/ 193 w 407"/>
                  <a:gd name="T45" fmla="*/ 341 h 370"/>
                  <a:gd name="T46" fmla="*/ 392 w 407"/>
                  <a:gd name="T47" fmla="*/ 341 h 370"/>
                  <a:gd name="T48" fmla="*/ 392 w 407"/>
                  <a:gd name="T49" fmla="*/ 341 h 370"/>
                  <a:gd name="T50" fmla="*/ 398 w 407"/>
                  <a:gd name="T51" fmla="*/ 342 h 370"/>
                  <a:gd name="T52" fmla="*/ 402 w 407"/>
                  <a:gd name="T53" fmla="*/ 345 h 370"/>
                  <a:gd name="T54" fmla="*/ 407 w 407"/>
                  <a:gd name="T55" fmla="*/ 351 h 370"/>
                  <a:gd name="T56" fmla="*/ 407 w 407"/>
                  <a:gd name="T57" fmla="*/ 355 h 370"/>
                  <a:gd name="T58" fmla="*/ 407 w 407"/>
                  <a:gd name="T59" fmla="*/ 355 h 370"/>
                  <a:gd name="T60" fmla="*/ 407 w 407"/>
                  <a:gd name="T61" fmla="*/ 361 h 370"/>
                  <a:gd name="T62" fmla="*/ 402 w 407"/>
                  <a:gd name="T63" fmla="*/ 365 h 370"/>
                  <a:gd name="T64" fmla="*/ 398 w 407"/>
                  <a:gd name="T65" fmla="*/ 370 h 370"/>
                  <a:gd name="T66" fmla="*/ 392 w 407"/>
                  <a:gd name="T67" fmla="*/ 370 h 370"/>
                  <a:gd name="T68" fmla="*/ 181 w 407"/>
                  <a:gd name="T69" fmla="*/ 370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07" h="370">
                    <a:moveTo>
                      <a:pt x="181" y="370"/>
                    </a:moveTo>
                    <a:lnTo>
                      <a:pt x="181" y="370"/>
                    </a:lnTo>
                    <a:lnTo>
                      <a:pt x="177" y="370"/>
                    </a:lnTo>
                    <a:lnTo>
                      <a:pt x="172" y="367"/>
                    </a:lnTo>
                    <a:lnTo>
                      <a:pt x="169" y="364"/>
                    </a:lnTo>
                    <a:lnTo>
                      <a:pt x="168" y="360"/>
                    </a:lnTo>
                    <a:lnTo>
                      <a:pt x="82" y="77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3" y="22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7" y="3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3" y="3"/>
                    </a:lnTo>
                    <a:lnTo>
                      <a:pt x="102" y="57"/>
                    </a:lnTo>
                    <a:lnTo>
                      <a:pt x="102" y="57"/>
                    </a:lnTo>
                    <a:lnTo>
                      <a:pt x="107" y="60"/>
                    </a:lnTo>
                    <a:lnTo>
                      <a:pt x="108" y="64"/>
                    </a:lnTo>
                    <a:lnTo>
                      <a:pt x="193" y="341"/>
                    </a:lnTo>
                    <a:lnTo>
                      <a:pt x="392" y="341"/>
                    </a:lnTo>
                    <a:lnTo>
                      <a:pt x="392" y="341"/>
                    </a:lnTo>
                    <a:lnTo>
                      <a:pt x="398" y="342"/>
                    </a:lnTo>
                    <a:lnTo>
                      <a:pt x="402" y="345"/>
                    </a:lnTo>
                    <a:lnTo>
                      <a:pt x="407" y="351"/>
                    </a:lnTo>
                    <a:lnTo>
                      <a:pt x="407" y="355"/>
                    </a:lnTo>
                    <a:lnTo>
                      <a:pt x="407" y="355"/>
                    </a:lnTo>
                    <a:lnTo>
                      <a:pt x="407" y="361"/>
                    </a:lnTo>
                    <a:lnTo>
                      <a:pt x="402" y="365"/>
                    </a:lnTo>
                    <a:lnTo>
                      <a:pt x="398" y="370"/>
                    </a:lnTo>
                    <a:lnTo>
                      <a:pt x="392" y="370"/>
                    </a:lnTo>
                    <a:lnTo>
                      <a:pt x="181" y="37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de-DE" sz="1350"/>
              </a:p>
            </p:txBody>
          </p:sp>
          <p:sp>
            <p:nvSpPr>
              <p:cNvPr id="18" name="Freeform 554"/>
              <p:cNvSpPr>
                <a:spLocks/>
              </p:cNvSpPr>
              <p:nvPr/>
            </p:nvSpPr>
            <p:spPr bwMode="auto">
              <a:xfrm>
                <a:off x="4121562" y="3982781"/>
                <a:ext cx="501921" cy="30158"/>
              </a:xfrm>
              <a:custGeom>
                <a:avLst/>
                <a:gdLst>
                  <a:gd name="T0" fmla="*/ 7 w 233"/>
                  <a:gd name="T1" fmla="*/ 14 h 14"/>
                  <a:gd name="T2" fmla="*/ 7 w 233"/>
                  <a:gd name="T3" fmla="*/ 14 h 14"/>
                  <a:gd name="T4" fmla="*/ 4 w 233"/>
                  <a:gd name="T5" fmla="*/ 13 h 14"/>
                  <a:gd name="T6" fmla="*/ 3 w 233"/>
                  <a:gd name="T7" fmla="*/ 11 h 14"/>
                  <a:gd name="T8" fmla="*/ 1 w 233"/>
                  <a:gd name="T9" fmla="*/ 10 h 14"/>
                  <a:gd name="T10" fmla="*/ 0 w 233"/>
                  <a:gd name="T11" fmla="*/ 7 h 14"/>
                  <a:gd name="T12" fmla="*/ 0 w 233"/>
                  <a:gd name="T13" fmla="*/ 7 h 14"/>
                  <a:gd name="T14" fmla="*/ 1 w 233"/>
                  <a:gd name="T15" fmla="*/ 4 h 14"/>
                  <a:gd name="T16" fmla="*/ 3 w 233"/>
                  <a:gd name="T17" fmla="*/ 1 h 14"/>
                  <a:gd name="T18" fmla="*/ 4 w 233"/>
                  <a:gd name="T19" fmla="*/ 0 h 14"/>
                  <a:gd name="T20" fmla="*/ 7 w 233"/>
                  <a:gd name="T21" fmla="*/ 0 h 14"/>
                  <a:gd name="T22" fmla="*/ 225 w 233"/>
                  <a:gd name="T23" fmla="*/ 0 h 14"/>
                  <a:gd name="T24" fmla="*/ 225 w 233"/>
                  <a:gd name="T25" fmla="*/ 0 h 14"/>
                  <a:gd name="T26" fmla="*/ 228 w 233"/>
                  <a:gd name="T27" fmla="*/ 0 h 14"/>
                  <a:gd name="T28" fmla="*/ 230 w 233"/>
                  <a:gd name="T29" fmla="*/ 1 h 14"/>
                  <a:gd name="T30" fmla="*/ 231 w 233"/>
                  <a:gd name="T31" fmla="*/ 4 h 14"/>
                  <a:gd name="T32" fmla="*/ 233 w 233"/>
                  <a:gd name="T33" fmla="*/ 7 h 14"/>
                  <a:gd name="T34" fmla="*/ 233 w 233"/>
                  <a:gd name="T35" fmla="*/ 7 h 14"/>
                  <a:gd name="T36" fmla="*/ 231 w 233"/>
                  <a:gd name="T37" fmla="*/ 10 h 14"/>
                  <a:gd name="T38" fmla="*/ 230 w 233"/>
                  <a:gd name="T39" fmla="*/ 11 h 14"/>
                  <a:gd name="T40" fmla="*/ 228 w 233"/>
                  <a:gd name="T41" fmla="*/ 13 h 14"/>
                  <a:gd name="T42" fmla="*/ 225 w 233"/>
                  <a:gd name="T43" fmla="*/ 14 h 14"/>
                  <a:gd name="T44" fmla="*/ 7 w 233"/>
                  <a:gd name="T4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33" h="14">
                    <a:moveTo>
                      <a:pt x="7" y="14"/>
                    </a:moveTo>
                    <a:lnTo>
                      <a:pt x="7" y="14"/>
                    </a:lnTo>
                    <a:lnTo>
                      <a:pt x="4" y="13"/>
                    </a:lnTo>
                    <a:lnTo>
                      <a:pt x="3" y="11"/>
                    </a:lnTo>
                    <a:lnTo>
                      <a:pt x="1" y="10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1" y="4"/>
                    </a:lnTo>
                    <a:lnTo>
                      <a:pt x="3" y="1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225" y="0"/>
                    </a:lnTo>
                    <a:lnTo>
                      <a:pt x="225" y="0"/>
                    </a:lnTo>
                    <a:lnTo>
                      <a:pt x="228" y="0"/>
                    </a:lnTo>
                    <a:lnTo>
                      <a:pt x="230" y="1"/>
                    </a:lnTo>
                    <a:lnTo>
                      <a:pt x="231" y="4"/>
                    </a:lnTo>
                    <a:lnTo>
                      <a:pt x="233" y="7"/>
                    </a:lnTo>
                    <a:lnTo>
                      <a:pt x="233" y="7"/>
                    </a:lnTo>
                    <a:lnTo>
                      <a:pt x="231" y="10"/>
                    </a:lnTo>
                    <a:lnTo>
                      <a:pt x="230" y="11"/>
                    </a:lnTo>
                    <a:lnTo>
                      <a:pt x="228" y="13"/>
                    </a:lnTo>
                    <a:lnTo>
                      <a:pt x="225" y="14"/>
                    </a:lnTo>
                    <a:lnTo>
                      <a:pt x="7" y="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de-DE" sz="1350"/>
              </a:p>
            </p:txBody>
          </p:sp>
          <p:sp>
            <p:nvSpPr>
              <p:cNvPr id="19" name="Freeform 555"/>
              <p:cNvSpPr>
                <a:spLocks noEditPoints="1"/>
              </p:cNvSpPr>
              <p:nvPr/>
            </p:nvSpPr>
            <p:spPr bwMode="auto">
              <a:xfrm>
                <a:off x="4115100" y="3625189"/>
                <a:ext cx="618245" cy="357592"/>
              </a:xfrm>
              <a:custGeom>
                <a:avLst/>
                <a:gdLst>
                  <a:gd name="T0" fmla="*/ 280 w 287"/>
                  <a:gd name="T1" fmla="*/ 47 h 166"/>
                  <a:gd name="T2" fmla="*/ 231 w 287"/>
                  <a:gd name="T3" fmla="*/ 63 h 166"/>
                  <a:gd name="T4" fmla="*/ 231 w 287"/>
                  <a:gd name="T5" fmla="*/ 36 h 166"/>
                  <a:gd name="T6" fmla="*/ 227 w 287"/>
                  <a:gd name="T7" fmla="*/ 36 h 166"/>
                  <a:gd name="T8" fmla="*/ 180 w 287"/>
                  <a:gd name="T9" fmla="*/ 63 h 166"/>
                  <a:gd name="T10" fmla="*/ 179 w 287"/>
                  <a:gd name="T11" fmla="*/ 27 h 166"/>
                  <a:gd name="T12" fmla="*/ 176 w 287"/>
                  <a:gd name="T13" fmla="*/ 27 h 166"/>
                  <a:gd name="T14" fmla="*/ 129 w 287"/>
                  <a:gd name="T15" fmla="*/ 63 h 166"/>
                  <a:gd name="T16" fmla="*/ 127 w 287"/>
                  <a:gd name="T17" fmla="*/ 18 h 166"/>
                  <a:gd name="T18" fmla="*/ 124 w 287"/>
                  <a:gd name="T19" fmla="*/ 18 h 166"/>
                  <a:gd name="T20" fmla="*/ 78 w 287"/>
                  <a:gd name="T21" fmla="*/ 63 h 166"/>
                  <a:gd name="T22" fmla="*/ 76 w 287"/>
                  <a:gd name="T23" fmla="*/ 12 h 166"/>
                  <a:gd name="T24" fmla="*/ 72 w 287"/>
                  <a:gd name="T25" fmla="*/ 12 h 166"/>
                  <a:gd name="T26" fmla="*/ 26 w 287"/>
                  <a:gd name="T27" fmla="*/ 63 h 166"/>
                  <a:gd name="T28" fmla="*/ 6 w 287"/>
                  <a:gd name="T29" fmla="*/ 0 h 166"/>
                  <a:gd name="T30" fmla="*/ 0 w 287"/>
                  <a:gd name="T31" fmla="*/ 2 h 166"/>
                  <a:gd name="T32" fmla="*/ 44 w 287"/>
                  <a:gd name="T33" fmla="*/ 150 h 166"/>
                  <a:gd name="T34" fmla="*/ 53 w 287"/>
                  <a:gd name="T35" fmla="*/ 161 h 166"/>
                  <a:gd name="T36" fmla="*/ 256 w 287"/>
                  <a:gd name="T37" fmla="*/ 166 h 166"/>
                  <a:gd name="T38" fmla="*/ 265 w 287"/>
                  <a:gd name="T39" fmla="*/ 164 h 166"/>
                  <a:gd name="T40" fmla="*/ 281 w 287"/>
                  <a:gd name="T41" fmla="*/ 144 h 166"/>
                  <a:gd name="T42" fmla="*/ 287 w 287"/>
                  <a:gd name="T43" fmla="*/ 50 h 166"/>
                  <a:gd name="T44" fmla="*/ 282 w 287"/>
                  <a:gd name="T45" fmla="*/ 46 h 166"/>
                  <a:gd name="T46" fmla="*/ 231 w 287"/>
                  <a:gd name="T47" fmla="*/ 112 h 166"/>
                  <a:gd name="T48" fmla="*/ 225 w 287"/>
                  <a:gd name="T49" fmla="*/ 69 h 166"/>
                  <a:gd name="T50" fmla="*/ 180 w 287"/>
                  <a:gd name="T51" fmla="*/ 69 h 166"/>
                  <a:gd name="T52" fmla="*/ 174 w 287"/>
                  <a:gd name="T53" fmla="*/ 117 h 166"/>
                  <a:gd name="T54" fmla="*/ 129 w 287"/>
                  <a:gd name="T55" fmla="*/ 117 h 166"/>
                  <a:gd name="T56" fmla="*/ 78 w 287"/>
                  <a:gd name="T57" fmla="*/ 117 h 166"/>
                  <a:gd name="T58" fmla="*/ 180 w 287"/>
                  <a:gd name="T59" fmla="*/ 117 h 166"/>
                  <a:gd name="T60" fmla="*/ 180 w 287"/>
                  <a:gd name="T61" fmla="*/ 157 h 166"/>
                  <a:gd name="T62" fmla="*/ 174 w 287"/>
                  <a:gd name="T63" fmla="*/ 112 h 166"/>
                  <a:gd name="T64" fmla="*/ 174 w 287"/>
                  <a:gd name="T65" fmla="*/ 69 h 166"/>
                  <a:gd name="T66" fmla="*/ 78 w 287"/>
                  <a:gd name="T67" fmla="*/ 112 h 166"/>
                  <a:gd name="T68" fmla="*/ 72 w 287"/>
                  <a:gd name="T69" fmla="*/ 69 h 166"/>
                  <a:gd name="T70" fmla="*/ 28 w 287"/>
                  <a:gd name="T71" fmla="*/ 69 h 166"/>
                  <a:gd name="T72" fmla="*/ 51 w 287"/>
                  <a:gd name="T73" fmla="*/ 145 h 166"/>
                  <a:gd name="T74" fmla="*/ 72 w 287"/>
                  <a:gd name="T75" fmla="*/ 157 h 166"/>
                  <a:gd name="T76" fmla="*/ 61 w 287"/>
                  <a:gd name="T77" fmla="*/ 157 h 166"/>
                  <a:gd name="T78" fmla="*/ 51 w 287"/>
                  <a:gd name="T79" fmla="*/ 147 h 166"/>
                  <a:gd name="T80" fmla="*/ 272 w 287"/>
                  <a:gd name="T81" fmla="*/ 142 h 166"/>
                  <a:gd name="T82" fmla="*/ 262 w 287"/>
                  <a:gd name="T83" fmla="*/ 157 h 166"/>
                  <a:gd name="T84" fmla="*/ 231 w 287"/>
                  <a:gd name="T85" fmla="*/ 117 h 166"/>
                  <a:gd name="T86" fmla="*/ 272 w 287"/>
                  <a:gd name="T87" fmla="*/ 142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87" h="166">
                    <a:moveTo>
                      <a:pt x="282" y="46"/>
                    </a:moveTo>
                    <a:lnTo>
                      <a:pt x="282" y="46"/>
                    </a:lnTo>
                    <a:lnTo>
                      <a:pt x="280" y="47"/>
                    </a:lnTo>
                    <a:lnTo>
                      <a:pt x="278" y="50"/>
                    </a:lnTo>
                    <a:lnTo>
                      <a:pt x="277" y="63"/>
                    </a:lnTo>
                    <a:lnTo>
                      <a:pt x="231" y="63"/>
                    </a:lnTo>
                    <a:lnTo>
                      <a:pt x="231" y="39"/>
                    </a:lnTo>
                    <a:lnTo>
                      <a:pt x="231" y="39"/>
                    </a:lnTo>
                    <a:lnTo>
                      <a:pt x="231" y="36"/>
                    </a:lnTo>
                    <a:lnTo>
                      <a:pt x="228" y="36"/>
                    </a:lnTo>
                    <a:lnTo>
                      <a:pt x="228" y="36"/>
                    </a:lnTo>
                    <a:lnTo>
                      <a:pt x="227" y="36"/>
                    </a:lnTo>
                    <a:lnTo>
                      <a:pt x="225" y="39"/>
                    </a:lnTo>
                    <a:lnTo>
                      <a:pt x="225" y="63"/>
                    </a:lnTo>
                    <a:lnTo>
                      <a:pt x="180" y="63"/>
                    </a:lnTo>
                    <a:lnTo>
                      <a:pt x="180" y="28"/>
                    </a:lnTo>
                    <a:lnTo>
                      <a:pt x="180" y="28"/>
                    </a:lnTo>
                    <a:lnTo>
                      <a:pt x="179" y="27"/>
                    </a:lnTo>
                    <a:lnTo>
                      <a:pt x="177" y="27"/>
                    </a:lnTo>
                    <a:lnTo>
                      <a:pt x="177" y="27"/>
                    </a:lnTo>
                    <a:lnTo>
                      <a:pt x="176" y="27"/>
                    </a:lnTo>
                    <a:lnTo>
                      <a:pt x="174" y="28"/>
                    </a:lnTo>
                    <a:lnTo>
                      <a:pt x="174" y="63"/>
                    </a:lnTo>
                    <a:lnTo>
                      <a:pt x="129" y="63"/>
                    </a:lnTo>
                    <a:lnTo>
                      <a:pt x="129" y="21"/>
                    </a:lnTo>
                    <a:lnTo>
                      <a:pt x="129" y="21"/>
                    </a:lnTo>
                    <a:lnTo>
                      <a:pt x="127" y="18"/>
                    </a:lnTo>
                    <a:lnTo>
                      <a:pt x="126" y="18"/>
                    </a:lnTo>
                    <a:lnTo>
                      <a:pt x="126" y="18"/>
                    </a:lnTo>
                    <a:lnTo>
                      <a:pt x="124" y="18"/>
                    </a:lnTo>
                    <a:lnTo>
                      <a:pt x="123" y="21"/>
                    </a:lnTo>
                    <a:lnTo>
                      <a:pt x="123" y="63"/>
                    </a:lnTo>
                    <a:lnTo>
                      <a:pt x="78" y="63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6" y="12"/>
                    </a:lnTo>
                    <a:lnTo>
                      <a:pt x="75" y="11"/>
                    </a:lnTo>
                    <a:lnTo>
                      <a:pt x="75" y="11"/>
                    </a:lnTo>
                    <a:lnTo>
                      <a:pt x="72" y="12"/>
                    </a:lnTo>
                    <a:lnTo>
                      <a:pt x="72" y="14"/>
                    </a:lnTo>
                    <a:lnTo>
                      <a:pt x="72" y="63"/>
                    </a:lnTo>
                    <a:lnTo>
                      <a:pt x="26" y="63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44" y="148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47" y="156"/>
                    </a:lnTo>
                    <a:lnTo>
                      <a:pt x="53" y="161"/>
                    </a:lnTo>
                    <a:lnTo>
                      <a:pt x="60" y="164"/>
                    </a:lnTo>
                    <a:lnTo>
                      <a:pt x="67" y="166"/>
                    </a:lnTo>
                    <a:lnTo>
                      <a:pt x="256" y="166"/>
                    </a:lnTo>
                    <a:lnTo>
                      <a:pt x="256" y="166"/>
                    </a:lnTo>
                    <a:lnTo>
                      <a:pt x="261" y="166"/>
                    </a:lnTo>
                    <a:lnTo>
                      <a:pt x="265" y="164"/>
                    </a:lnTo>
                    <a:lnTo>
                      <a:pt x="272" y="160"/>
                    </a:lnTo>
                    <a:lnTo>
                      <a:pt x="278" y="153"/>
                    </a:lnTo>
                    <a:lnTo>
                      <a:pt x="281" y="144"/>
                    </a:lnTo>
                    <a:lnTo>
                      <a:pt x="281" y="144"/>
                    </a:lnTo>
                    <a:lnTo>
                      <a:pt x="287" y="50"/>
                    </a:lnTo>
                    <a:lnTo>
                      <a:pt x="287" y="50"/>
                    </a:lnTo>
                    <a:lnTo>
                      <a:pt x="285" y="47"/>
                    </a:lnTo>
                    <a:lnTo>
                      <a:pt x="282" y="46"/>
                    </a:lnTo>
                    <a:lnTo>
                      <a:pt x="282" y="46"/>
                    </a:lnTo>
                    <a:close/>
                    <a:moveTo>
                      <a:pt x="277" y="69"/>
                    </a:moveTo>
                    <a:lnTo>
                      <a:pt x="274" y="112"/>
                    </a:lnTo>
                    <a:lnTo>
                      <a:pt x="231" y="112"/>
                    </a:lnTo>
                    <a:lnTo>
                      <a:pt x="231" y="69"/>
                    </a:lnTo>
                    <a:lnTo>
                      <a:pt x="277" y="69"/>
                    </a:lnTo>
                    <a:close/>
                    <a:moveTo>
                      <a:pt x="225" y="69"/>
                    </a:moveTo>
                    <a:lnTo>
                      <a:pt x="225" y="112"/>
                    </a:lnTo>
                    <a:lnTo>
                      <a:pt x="180" y="112"/>
                    </a:lnTo>
                    <a:lnTo>
                      <a:pt x="180" y="69"/>
                    </a:lnTo>
                    <a:lnTo>
                      <a:pt x="225" y="69"/>
                    </a:lnTo>
                    <a:close/>
                    <a:moveTo>
                      <a:pt x="129" y="117"/>
                    </a:moveTo>
                    <a:lnTo>
                      <a:pt x="174" y="117"/>
                    </a:lnTo>
                    <a:lnTo>
                      <a:pt x="174" y="157"/>
                    </a:lnTo>
                    <a:lnTo>
                      <a:pt x="129" y="157"/>
                    </a:lnTo>
                    <a:lnTo>
                      <a:pt x="129" y="117"/>
                    </a:lnTo>
                    <a:close/>
                    <a:moveTo>
                      <a:pt x="123" y="157"/>
                    </a:moveTo>
                    <a:lnTo>
                      <a:pt x="78" y="157"/>
                    </a:lnTo>
                    <a:lnTo>
                      <a:pt x="78" y="117"/>
                    </a:lnTo>
                    <a:lnTo>
                      <a:pt x="123" y="117"/>
                    </a:lnTo>
                    <a:lnTo>
                      <a:pt x="123" y="157"/>
                    </a:lnTo>
                    <a:close/>
                    <a:moveTo>
                      <a:pt x="180" y="117"/>
                    </a:moveTo>
                    <a:lnTo>
                      <a:pt x="225" y="117"/>
                    </a:lnTo>
                    <a:lnTo>
                      <a:pt x="225" y="157"/>
                    </a:lnTo>
                    <a:lnTo>
                      <a:pt x="180" y="157"/>
                    </a:lnTo>
                    <a:lnTo>
                      <a:pt x="180" y="117"/>
                    </a:lnTo>
                    <a:close/>
                    <a:moveTo>
                      <a:pt x="174" y="69"/>
                    </a:moveTo>
                    <a:lnTo>
                      <a:pt x="174" y="112"/>
                    </a:lnTo>
                    <a:lnTo>
                      <a:pt x="129" y="112"/>
                    </a:lnTo>
                    <a:lnTo>
                      <a:pt x="129" y="69"/>
                    </a:lnTo>
                    <a:lnTo>
                      <a:pt x="174" y="69"/>
                    </a:lnTo>
                    <a:close/>
                    <a:moveTo>
                      <a:pt x="123" y="69"/>
                    </a:moveTo>
                    <a:lnTo>
                      <a:pt x="123" y="112"/>
                    </a:lnTo>
                    <a:lnTo>
                      <a:pt x="78" y="112"/>
                    </a:lnTo>
                    <a:lnTo>
                      <a:pt x="78" y="69"/>
                    </a:lnTo>
                    <a:lnTo>
                      <a:pt x="123" y="69"/>
                    </a:lnTo>
                    <a:close/>
                    <a:moveTo>
                      <a:pt x="72" y="69"/>
                    </a:moveTo>
                    <a:lnTo>
                      <a:pt x="72" y="112"/>
                    </a:lnTo>
                    <a:lnTo>
                      <a:pt x="41" y="112"/>
                    </a:lnTo>
                    <a:lnTo>
                      <a:pt x="28" y="69"/>
                    </a:lnTo>
                    <a:lnTo>
                      <a:pt x="72" y="69"/>
                    </a:lnTo>
                    <a:close/>
                    <a:moveTo>
                      <a:pt x="51" y="147"/>
                    </a:moveTo>
                    <a:lnTo>
                      <a:pt x="51" y="145"/>
                    </a:lnTo>
                    <a:lnTo>
                      <a:pt x="42" y="117"/>
                    </a:lnTo>
                    <a:lnTo>
                      <a:pt x="72" y="117"/>
                    </a:lnTo>
                    <a:lnTo>
                      <a:pt x="72" y="157"/>
                    </a:lnTo>
                    <a:lnTo>
                      <a:pt x="67" y="157"/>
                    </a:lnTo>
                    <a:lnTo>
                      <a:pt x="67" y="157"/>
                    </a:lnTo>
                    <a:lnTo>
                      <a:pt x="61" y="157"/>
                    </a:lnTo>
                    <a:lnTo>
                      <a:pt x="57" y="154"/>
                    </a:lnTo>
                    <a:lnTo>
                      <a:pt x="54" y="151"/>
                    </a:lnTo>
                    <a:lnTo>
                      <a:pt x="51" y="147"/>
                    </a:lnTo>
                    <a:lnTo>
                      <a:pt x="51" y="147"/>
                    </a:lnTo>
                    <a:close/>
                    <a:moveTo>
                      <a:pt x="272" y="142"/>
                    </a:moveTo>
                    <a:lnTo>
                      <a:pt x="272" y="142"/>
                    </a:lnTo>
                    <a:lnTo>
                      <a:pt x="271" y="148"/>
                    </a:lnTo>
                    <a:lnTo>
                      <a:pt x="266" y="154"/>
                    </a:lnTo>
                    <a:lnTo>
                      <a:pt x="262" y="157"/>
                    </a:lnTo>
                    <a:lnTo>
                      <a:pt x="256" y="157"/>
                    </a:lnTo>
                    <a:lnTo>
                      <a:pt x="231" y="157"/>
                    </a:lnTo>
                    <a:lnTo>
                      <a:pt x="231" y="117"/>
                    </a:lnTo>
                    <a:lnTo>
                      <a:pt x="274" y="117"/>
                    </a:lnTo>
                    <a:lnTo>
                      <a:pt x="272" y="142"/>
                    </a:lnTo>
                    <a:lnTo>
                      <a:pt x="272" y="1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de-DE" sz="1350"/>
              </a:p>
            </p:txBody>
          </p:sp>
          <p:sp>
            <p:nvSpPr>
              <p:cNvPr id="20" name="Freeform 556"/>
              <p:cNvSpPr>
                <a:spLocks/>
              </p:cNvSpPr>
              <p:nvPr/>
            </p:nvSpPr>
            <p:spPr bwMode="auto">
              <a:xfrm>
                <a:off x="4102175" y="3601493"/>
                <a:ext cx="650558" cy="135713"/>
              </a:xfrm>
              <a:custGeom>
                <a:avLst/>
                <a:gdLst>
                  <a:gd name="T0" fmla="*/ 302 w 302"/>
                  <a:gd name="T1" fmla="*/ 54 h 63"/>
                  <a:gd name="T2" fmla="*/ 302 w 302"/>
                  <a:gd name="T3" fmla="*/ 54 h 63"/>
                  <a:gd name="T4" fmla="*/ 300 w 302"/>
                  <a:gd name="T5" fmla="*/ 58 h 63"/>
                  <a:gd name="T6" fmla="*/ 297 w 302"/>
                  <a:gd name="T7" fmla="*/ 61 h 63"/>
                  <a:gd name="T8" fmla="*/ 293 w 302"/>
                  <a:gd name="T9" fmla="*/ 63 h 63"/>
                  <a:gd name="T10" fmla="*/ 288 w 302"/>
                  <a:gd name="T11" fmla="*/ 63 h 63"/>
                  <a:gd name="T12" fmla="*/ 9 w 302"/>
                  <a:gd name="T13" fmla="*/ 22 h 63"/>
                  <a:gd name="T14" fmla="*/ 9 w 302"/>
                  <a:gd name="T15" fmla="*/ 22 h 63"/>
                  <a:gd name="T16" fmla="*/ 5 w 302"/>
                  <a:gd name="T17" fmla="*/ 20 h 63"/>
                  <a:gd name="T18" fmla="*/ 2 w 302"/>
                  <a:gd name="T19" fmla="*/ 17 h 63"/>
                  <a:gd name="T20" fmla="*/ 0 w 302"/>
                  <a:gd name="T21" fmla="*/ 13 h 63"/>
                  <a:gd name="T22" fmla="*/ 0 w 302"/>
                  <a:gd name="T23" fmla="*/ 9 h 63"/>
                  <a:gd name="T24" fmla="*/ 0 w 302"/>
                  <a:gd name="T25" fmla="*/ 9 h 63"/>
                  <a:gd name="T26" fmla="*/ 2 w 302"/>
                  <a:gd name="T27" fmla="*/ 6 h 63"/>
                  <a:gd name="T28" fmla="*/ 3 w 302"/>
                  <a:gd name="T29" fmla="*/ 3 h 63"/>
                  <a:gd name="T30" fmla="*/ 7 w 302"/>
                  <a:gd name="T31" fmla="*/ 0 h 63"/>
                  <a:gd name="T32" fmla="*/ 12 w 302"/>
                  <a:gd name="T33" fmla="*/ 0 h 63"/>
                  <a:gd name="T34" fmla="*/ 291 w 302"/>
                  <a:gd name="T35" fmla="*/ 42 h 63"/>
                  <a:gd name="T36" fmla="*/ 291 w 302"/>
                  <a:gd name="T37" fmla="*/ 42 h 63"/>
                  <a:gd name="T38" fmla="*/ 296 w 302"/>
                  <a:gd name="T39" fmla="*/ 44 h 63"/>
                  <a:gd name="T40" fmla="*/ 299 w 302"/>
                  <a:gd name="T41" fmla="*/ 45 h 63"/>
                  <a:gd name="T42" fmla="*/ 302 w 302"/>
                  <a:gd name="T43" fmla="*/ 50 h 63"/>
                  <a:gd name="T44" fmla="*/ 302 w 302"/>
                  <a:gd name="T45" fmla="*/ 54 h 63"/>
                  <a:gd name="T46" fmla="*/ 302 w 302"/>
                  <a:gd name="T47" fmla="*/ 54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02" h="63">
                    <a:moveTo>
                      <a:pt x="302" y="54"/>
                    </a:moveTo>
                    <a:lnTo>
                      <a:pt x="302" y="54"/>
                    </a:lnTo>
                    <a:lnTo>
                      <a:pt x="300" y="58"/>
                    </a:lnTo>
                    <a:lnTo>
                      <a:pt x="297" y="61"/>
                    </a:lnTo>
                    <a:lnTo>
                      <a:pt x="293" y="63"/>
                    </a:lnTo>
                    <a:lnTo>
                      <a:pt x="288" y="63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5" y="20"/>
                    </a:lnTo>
                    <a:lnTo>
                      <a:pt x="2" y="17"/>
                    </a:lnTo>
                    <a:lnTo>
                      <a:pt x="0" y="13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2" y="6"/>
                    </a:lnTo>
                    <a:lnTo>
                      <a:pt x="3" y="3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291" y="42"/>
                    </a:lnTo>
                    <a:lnTo>
                      <a:pt x="291" y="42"/>
                    </a:lnTo>
                    <a:lnTo>
                      <a:pt x="296" y="44"/>
                    </a:lnTo>
                    <a:lnTo>
                      <a:pt x="299" y="45"/>
                    </a:lnTo>
                    <a:lnTo>
                      <a:pt x="302" y="50"/>
                    </a:lnTo>
                    <a:lnTo>
                      <a:pt x="302" y="54"/>
                    </a:lnTo>
                    <a:lnTo>
                      <a:pt x="302" y="54"/>
                    </a:lnTo>
                    <a:close/>
                  </a:path>
                </a:pathLst>
              </a:custGeom>
              <a:solidFill>
                <a:srgbClr val="EDBA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de-DE" sz="1350"/>
              </a:p>
            </p:txBody>
          </p:sp>
          <p:sp>
            <p:nvSpPr>
              <p:cNvPr id="21" name="Freeform 557"/>
              <p:cNvSpPr>
                <a:spLocks/>
              </p:cNvSpPr>
              <p:nvPr/>
            </p:nvSpPr>
            <p:spPr bwMode="auto">
              <a:xfrm>
                <a:off x="4563166" y="4170193"/>
                <a:ext cx="148637" cy="152946"/>
              </a:xfrm>
              <a:custGeom>
                <a:avLst/>
                <a:gdLst>
                  <a:gd name="T0" fmla="*/ 69 w 69"/>
                  <a:gd name="T1" fmla="*/ 36 h 71"/>
                  <a:gd name="T2" fmla="*/ 69 w 69"/>
                  <a:gd name="T3" fmla="*/ 36 h 71"/>
                  <a:gd name="T4" fmla="*/ 69 w 69"/>
                  <a:gd name="T5" fmla="*/ 28 h 71"/>
                  <a:gd name="T6" fmla="*/ 66 w 69"/>
                  <a:gd name="T7" fmla="*/ 22 h 71"/>
                  <a:gd name="T8" fmla="*/ 63 w 69"/>
                  <a:gd name="T9" fmla="*/ 17 h 71"/>
                  <a:gd name="T10" fmla="*/ 58 w 69"/>
                  <a:gd name="T11" fmla="*/ 11 h 71"/>
                  <a:gd name="T12" fmla="*/ 54 w 69"/>
                  <a:gd name="T13" fmla="*/ 6 h 71"/>
                  <a:gd name="T14" fmla="*/ 48 w 69"/>
                  <a:gd name="T15" fmla="*/ 3 h 71"/>
                  <a:gd name="T16" fmla="*/ 41 w 69"/>
                  <a:gd name="T17" fmla="*/ 2 h 71"/>
                  <a:gd name="T18" fmla="*/ 35 w 69"/>
                  <a:gd name="T19" fmla="*/ 0 h 71"/>
                  <a:gd name="T20" fmla="*/ 35 w 69"/>
                  <a:gd name="T21" fmla="*/ 0 h 71"/>
                  <a:gd name="T22" fmla="*/ 28 w 69"/>
                  <a:gd name="T23" fmla="*/ 2 h 71"/>
                  <a:gd name="T24" fmla="*/ 20 w 69"/>
                  <a:gd name="T25" fmla="*/ 3 h 71"/>
                  <a:gd name="T26" fmla="*/ 14 w 69"/>
                  <a:gd name="T27" fmla="*/ 6 h 71"/>
                  <a:gd name="T28" fmla="*/ 10 w 69"/>
                  <a:gd name="T29" fmla="*/ 11 h 71"/>
                  <a:gd name="T30" fmla="*/ 6 w 69"/>
                  <a:gd name="T31" fmla="*/ 17 h 71"/>
                  <a:gd name="T32" fmla="*/ 3 w 69"/>
                  <a:gd name="T33" fmla="*/ 22 h 71"/>
                  <a:gd name="T34" fmla="*/ 0 w 69"/>
                  <a:gd name="T35" fmla="*/ 28 h 71"/>
                  <a:gd name="T36" fmla="*/ 0 w 69"/>
                  <a:gd name="T37" fmla="*/ 36 h 71"/>
                  <a:gd name="T38" fmla="*/ 0 w 69"/>
                  <a:gd name="T39" fmla="*/ 36 h 71"/>
                  <a:gd name="T40" fmla="*/ 0 w 69"/>
                  <a:gd name="T41" fmla="*/ 43 h 71"/>
                  <a:gd name="T42" fmla="*/ 3 w 69"/>
                  <a:gd name="T43" fmla="*/ 49 h 71"/>
                  <a:gd name="T44" fmla="*/ 6 w 69"/>
                  <a:gd name="T45" fmla="*/ 55 h 71"/>
                  <a:gd name="T46" fmla="*/ 10 w 69"/>
                  <a:gd name="T47" fmla="*/ 60 h 71"/>
                  <a:gd name="T48" fmla="*/ 14 w 69"/>
                  <a:gd name="T49" fmla="*/ 65 h 71"/>
                  <a:gd name="T50" fmla="*/ 20 w 69"/>
                  <a:gd name="T51" fmla="*/ 68 h 71"/>
                  <a:gd name="T52" fmla="*/ 28 w 69"/>
                  <a:gd name="T53" fmla="*/ 69 h 71"/>
                  <a:gd name="T54" fmla="*/ 35 w 69"/>
                  <a:gd name="T55" fmla="*/ 71 h 71"/>
                  <a:gd name="T56" fmla="*/ 35 w 69"/>
                  <a:gd name="T57" fmla="*/ 71 h 71"/>
                  <a:gd name="T58" fmla="*/ 41 w 69"/>
                  <a:gd name="T59" fmla="*/ 69 h 71"/>
                  <a:gd name="T60" fmla="*/ 48 w 69"/>
                  <a:gd name="T61" fmla="*/ 68 h 71"/>
                  <a:gd name="T62" fmla="*/ 54 w 69"/>
                  <a:gd name="T63" fmla="*/ 65 h 71"/>
                  <a:gd name="T64" fmla="*/ 58 w 69"/>
                  <a:gd name="T65" fmla="*/ 60 h 71"/>
                  <a:gd name="T66" fmla="*/ 63 w 69"/>
                  <a:gd name="T67" fmla="*/ 55 h 71"/>
                  <a:gd name="T68" fmla="*/ 66 w 69"/>
                  <a:gd name="T69" fmla="*/ 49 h 71"/>
                  <a:gd name="T70" fmla="*/ 69 w 69"/>
                  <a:gd name="T71" fmla="*/ 43 h 71"/>
                  <a:gd name="T72" fmla="*/ 69 w 69"/>
                  <a:gd name="T73" fmla="*/ 36 h 71"/>
                  <a:gd name="T74" fmla="*/ 69 w 69"/>
                  <a:gd name="T75" fmla="*/ 36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9" h="71">
                    <a:moveTo>
                      <a:pt x="69" y="36"/>
                    </a:moveTo>
                    <a:lnTo>
                      <a:pt x="69" y="36"/>
                    </a:lnTo>
                    <a:lnTo>
                      <a:pt x="69" y="28"/>
                    </a:lnTo>
                    <a:lnTo>
                      <a:pt x="66" y="22"/>
                    </a:lnTo>
                    <a:lnTo>
                      <a:pt x="63" y="17"/>
                    </a:lnTo>
                    <a:lnTo>
                      <a:pt x="58" y="11"/>
                    </a:lnTo>
                    <a:lnTo>
                      <a:pt x="54" y="6"/>
                    </a:lnTo>
                    <a:lnTo>
                      <a:pt x="48" y="3"/>
                    </a:lnTo>
                    <a:lnTo>
                      <a:pt x="41" y="2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28" y="2"/>
                    </a:lnTo>
                    <a:lnTo>
                      <a:pt x="20" y="3"/>
                    </a:lnTo>
                    <a:lnTo>
                      <a:pt x="14" y="6"/>
                    </a:lnTo>
                    <a:lnTo>
                      <a:pt x="10" y="11"/>
                    </a:lnTo>
                    <a:lnTo>
                      <a:pt x="6" y="17"/>
                    </a:lnTo>
                    <a:lnTo>
                      <a:pt x="3" y="22"/>
                    </a:lnTo>
                    <a:lnTo>
                      <a:pt x="0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3" y="49"/>
                    </a:lnTo>
                    <a:lnTo>
                      <a:pt x="6" y="55"/>
                    </a:lnTo>
                    <a:lnTo>
                      <a:pt x="10" y="60"/>
                    </a:lnTo>
                    <a:lnTo>
                      <a:pt x="14" y="65"/>
                    </a:lnTo>
                    <a:lnTo>
                      <a:pt x="20" y="68"/>
                    </a:lnTo>
                    <a:lnTo>
                      <a:pt x="28" y="69"/>
                    </a:lnTo>
                    <a:lnTo>
                      <a:pt x="35" y="71"/>
                    </a:lnTo>
                    <a:lnTo>
                      <a:pt x="35" y="71"/>
                    </a:lnTo>
                    <a:lnTo>
                      <a:pt x="41" y="69"/>
                    </a:lnTo>
                    <a:lnTo>
                      <a:pt x="48" y="68"/>
                    </a:lnTo>
                    <a:lnTo>
                      <a:pt x="54" y="65"/>
                    </a:lnTo>
                    <a:lnTo>
                      <a:pt x="58" y="60"/>
                    </a:lnTo>
                    <a:lnTo>
                      <a:pt x="63" y="55"/>
                    </a:lnTo>
                    <a:lnTo>
                      <a:pt x="66" y="49"/>
                    </a:lnTo>
                    <a:lnTo>
                      <a:pt x="69" y="43"/>
                    </a:lnTo>
                    <a:lnTo>
                      <a:pt x="69" y="36"/>
                    </a:lnTo>
                    <a:lnTo>
                      <a:pt x="69" y="36"/>
                    </a:lnTo>
                    <a:close/>
                  </a:path>
                </a:pathLst>
              </a:custGeom>
              <a:solidFill>
                <a:srgbClr val="504F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de-DE" sz="1350"/>
              </a:p>
            </p:txBody>
          </p:sp>
          <p:sp>
            <p:nvSpPr>
              <p:cNvPr id="22" name="Freeform 558"/>
              <p:cNvSpPr>
                <a:spLocks/>
              </p:cNvSpPr>
              <p:nvPr/>
            </p:nvSpPr>
            <p:spPr bwMode="auto">
              <a:xfrm>
                <a:off x="4565320" y="4170193"/>
                <a:ext cx="86167" cy="58163"/>
              </a:xfrm>
              <a:custGeom>
                <a:avLst/>
                <a:gdLst>
                  <a:gd name="T0" fmla="*/ 40 w 40"/>
                  <a:gd name="T1" fmla="*/ 2 h 27"/>
                  <a:gd name="T2" fmla="*/ 40 w 40"/>
                  <a:gd name="T3" fmla="*/ 2 h 27"/>
                  <a:gd name="T4" fmla="*/ 34 w 40"/>
                  <a:gd name="T5" fmla="*/ 0 h 27"/>
                  <a:gd name="T6" fmla="*/ 34 w 40"/>
                  <a:gd name="T7" fmla="*/ 0 h 27"/>
                  <a:gd name="T8" fmla="*/ 27 w 40"/>
                  <a:gd name="T9" fmla="*/ 2 h 27"/>
                  <a:gd name="T10" fmla="*/ 22 w 40"/>
                  <a:gd name="T11" fmla="*/ 3 h 27"/>
                  <a:gd name="T12" fmla="*/ 16 w 40"/>
                  <a:gd name="T13" fmla="*/ 5 h 27"/>
                  <a:gd name="T14" fmla="*/ 12 w 40"/>
                  <a:gd name="T15" fmla="*/ 9 h 27"/>
                  <a:gd name="T16" fmla="*/ 8 w 40"/>
                  <a:gd name="T17" fmla="*/ 12 h 27"/>
                  <a:gd name="T18" fmla="*/ 5 w 40"/>
                  <a:gd name="T19" fmla="*/ 17 h 27"/>
                  <a:gd name="T20" fmla="*/ 2 w 40"/>
                  <a:gd name="T21" fmla="*/ 22 h 27"/>
                  <a:gd name="T22" fmla="*/ 0 w 40"/>
                  <a:gd name="T23" fmla="*/ 27 h 27"/>
                  <a:gd name="T24" fmla="*/ 0 w 40"/>
                  <a:gd name="T25" fmla="*/ 27 h 27"/>
                  <a:gd name="T26" fmla="*/ 12 w 40"/>
                  <a:gd name="T27" fmla="*/ 24 h 27"/>
                  <a:gd name="T28" fmla="*/ 22 w 40"/>
                  <a:gd name="T29" fmla="*/ 18 h 27"/>
                  <a:gd name="T30" fmla="*/ 33 w 40"/>
                  <a:gd name="T31" fmla="*/ 11 h 27"/>
                  <a:gd name="T32" fmla="*/ 40 w 40"/>
                  <a:gd name="T33" fmla="*/ 2 h 27"/>
                  <a:gd name="T34" fmla="*/ 40 w 40"/>
                  <a:gd name="T35" fmla="*/ 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0" h="27">
                    <a:moveTo>
                      <a:pt x="40" y="2"/>
                    </a:moveTo>
                    <a:lnTo>
                      <a:pt x="40" y="2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7" y="2"/>
                    </a:lnTo>
                    <a:lnTo>
                      <a:pt x="22" y="3"/>
                    </a:lnTo>
                    <a:lnTo>
                      <a:pt x="16" y="5"/>
                    </a:lnTo>
                    <a:lnTo>
                      <a:pt x="12" y="9"/>
                    </a:lnTo>
                    <a:lnTo>
                      <a:pt x="8" y="12"/>
                    </a:lnTo>
                    <a:lnTo>
                      <a:pt x="5" y="17"/>
                    </a:lnTo>
                    <a:lnTo>
                      <a:pt x="2" y="22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12" y="24"/>
                    </a:lnTo>
                    <a:lnTo>
                      <a:pt x="22" y="18"/>
                    </a:lnTo>
                    <a:lnTo>
                      <a:pt x="33" y="11"/>
                    </a:lnTo>
                    <a:lnTo>
                      <a:pt x="40" y="2"/>
                    </a:lnTo>
                    <a:lnTo>
                      <a:pt x="40" y="2"/>
                    </a:lnTo>
                    <a:close/>
                  </a:path>
                </a:pathLst>
              </a:custGeom>
              <a:solidFill>
                <a:srgbClr val="9595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de-DE" sz="1350"/>
              </a:p>
            </p:txBody>
          </p:sp>
          <p:sp>
            <p:nvSpPr>
              <p:cNvPr id="23" name="Freeform 559"/>
              <p:cNvSpPr>
                <a:spLocks/>
              </p:cNvSpPr>
              <p:nvPr/>
            </p:nvSpPr>
            <p:spPr bwMode="auto">
              <a:xfrm>
                <a:off x="4591170" y="4202506"/>
                <a:ext cx="90475" cy="88321"/>
              </a:xfrm>
              <a:custGeom>
                <a:avLst/>
                <a:gdLst>
                  <a:gd name="T0" fmla="*/ 42 w 42"/>
                  <a:gd name="T1" fmla="*/ 21 h 41"/>
                  <a:gd name="T2" fmla="*/ 42 w 42"/>
                  <a:gd name="T3" fmla="*/ 21 h 41"/>
                  <a:gd name="T4" fmla="*/ 41 w 42"/>
                  <a:gd name="T5" fmla="*/ 13 h 41"/>
                  <a:gd name="T6" fmla="*/ 37 w 42"/>
                  <a:gd name="T7" fmla="*/ 6 h 41"/>
                  <a:gd name="T8" fmla="*/ 29 w 42"/>
                  <a:gd name="T9" fmla="*/ 2 h 41"/>
                  <a:gd name="T10" fmla="*/ 22 w 42"/>
                  <a:gd name="T11" fmla="*/ 0 h 41"/>
                  <a:gd name="T12" fmla="*/ 22 w 42"/>
                  <a:gd name="T13" fmla="*/ 0 h 41"/>
                  <a:gd name="T14" fmla="*/ 13 w 42"/>
                  <a:gd name="T15" fmla="*/ 2 h 41"/>
                  <a:gd name="T16" fmla="*/ 7 w 42"/>
                  <a:gd name="T17" fmla="*/ 6 h 41"/>
                  <a:gd name="T18" fmla="*/ 1 w 42"/>
                  <a:gd name="T19" fmla="*/ 13 h 41"/>
                  <a:gd name="T20" fmla="*/ 0 w 42"/>
                  <a:gd name="T21" fmla="*/ 21 h 41"/>
                  <a:gd name="T22" fmla="*/ 0 w 42"/>
                  <a:gd name="T23" fmla="*/ 21 h 41"/>
                  <a:gd name="T24" fmla="*/ 1 w 42"/>
                  <a:gd name="T25" fmla="*/ 29 h 41"/>
                  <a:gd name="T26" fmla="*/ 7 w 42"/>
                  <a:gd name="T27" fmla="*/ 35 h 41"/>
                  <a:gd name="T28" fmla="*/ 13 w 42"/>
                  <a:gd name="T29" fmla="*/ 40 h 41"/>
                  <a:gd name="T30" fmla="*/ 22 w 42"/>
                  <a:gd name="T31" fmla="*/ 41 h 41"/>
                  <a:gd name="T32" fmla="*/ 22 w 42"/>
                  <a:gd name="T33" fmla="*/ 41 h 41"/>
                  <a:gd name="T34" fmla="*/ 29 w 42"/>
                  <a:gd name="T35" fmla="*/ 40 h 41"/>
                  <a:gd name="T36" fmla="*/ 37 w 42"/>
                  <a:gd name="T37" fmla="*/ 35 h 41"/>
                  <a:gd name="T38" fmla="*/ 41 w 42"/>
                  <a:gd name="T39" fmla="*/ 29 h 41"/>
                  <a:gd name="T40" fmla="*/ 42 w 42"/>
                  <a:gd name="T41" fmla="*/ 21 h 41"/>
                  <a:gd name="T42" fmla="*/ 42 w 42"/>
                  <a:gd name="T43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2" h="41">
                    <a:moveTo>
                      <a:pt x="42" y="21"/>
                    </a:moveTo>
                    <a:lnTo>
                      <a:pt x="42" y="21"/>
                    </a:lnTo>
                    <a:lnTo>
                      <a:pt x="41" y="13"/>
                    </a:lnTo>
                    <a:lnTo>
                      <a:pt x="37" y="6"/>
                    </a:lnTo>
                    <a:lnTo>
                      <a:pt x="29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3" y="2"/>
                    </a:lnTo>
                    <a:lnTo>
                      <a:pt x="7" y="6"/>
                    </a:lnTo>
                    <a:lnTo>
                      <a:pt x="1" y="13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1" y="29"/>
                    </a:lnTo>
                    <a:lnTo>
                      <a:pt x="7" y="35"/>
                    </a:lnTo>
                    <a:lnTo>
                      <a:pt x="13" y="40"/>
                    </a:lnTo>
                    <a:lnTo>
                      <a:pt x="22" y="41"/>
                    </a:lnTo>
                    <a:lnTo>
                      <a:pt x="22" y="41"/>
                    </a:lnTo>
                    <a:lnTo>
                      <a:pt x="29" y="40"/>
                    </a:lnTo>
                    <a:lnTo>
                      <a:pt x="37" y="35"/>
                    </a:lnTo>
                    <a:lnTo>
                      <a:pt x="41" y="29"/>
                    </a:lnTo>
                    <a:lnTo>
                      <a:pt x="42" y="21"/>
                    </a:lnTo>
                    <a:lnTo>
                      <a:pt x="42" y="21"/>
                    </a:lnTo>
                    <a:close/>
                  </a:path>
                </a:pathLst>
              </a:custGeom>
              <a:solidFill>
                <a:srgbClr val="2D2D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de-DE" sz="1350"/>
              </a:p>
            </p:txBody>
          </p:sp>
          <p:sp>
            <p:nvSpPr>
              <p:cNvPr id="24" name="Freeform 560"/>
              <p:cNvSpPr>
                <a:spLocks/>
              </p:cNvSpPr>
              <p:nvPr/>
            </p:nvSpPr>
            <p:spPr bwMode="auto">
              <a:xfrm>
                <a:off x="4599787" y="4213277"/>
                <a:ext cx="73242" cy="71088"/>
              </a:xfrm>
              <a:custGeom>
                <a:avLst/>
                <a:gdLst>
                  <a:gd name="T0" fmla="*/ 18 w 34"/>
                  <a:gd name="T1" fmla="*/ 33 h 33"/>
                  <a:gd name="T2" fmla="*/ 18 w 34"/>
                  <a:gd name="T3" fmla="*/ 33 h 33"/>
                  <a:gd name="T4" fmla="*/ 11 w 34"/>
                  <a:gd name="T5" fmla="*/ 32 h 33"/>
                  <a:gd name="T6" fmla="*/ 5 w 34"/>
                  <a:gd name="T7" fmla="*/ 27 h 33"/>
                  <a:gd name="T8" fmla="*/ 2 w 34"/>
                  <a:gd name="T9" fmla="*/ 23 h 33"/>
                  <a:gd name="T10" fmla="*/ 0 w 34"/>
                  <a:gd name="T11" fmla="*/ 16 h 33"/>
                  <a:gd name="T12" fmla="*/ 0 w 34"/>
                  <a:gd name="T13" fmla="*/ 16 h 33"/>
                  <a:gd name="T14" fmla="*/ 2 w 34"/>
                  <a:gd name="T15" fmla="*/ 10 h 33"/>
                  <a:gd name="T16" fmla="*/ 5 w 34"/>
                  <a:gd name="T17" fmla="*/ 4 h 33"/>
                  <a:gd name="T18" fmla="*/ 11 w 34"/>
                  <a:gd name="T19" fmla="*/ 0 h 33"/>
                  <a:gd name="T20" fmla="*/ 18 w 34"/>
                  <a:gd name="T21" fmla="*/ 0 h 33"/>
                  <a:gd name="T22" fmla="*/ 18 w 34"/>
                  <a:gd name="T23" fmla="*/ 0 h 33"/>
                  <a:gd name="T24" fmla="*/ 24 w 34"/>
                  <a:gd name="T25" fmla="*/ 0 h 33"/>
                  <a:gd name="T26" fmla="*/ 30 w 34"/>
                  <a:gd name="T27" fmla="*/ 4 h 33"/>
                  <a:gd name="T28" fmla="*/ 33 w 34"/>
                  <a:gd name="T29" fmla="*/ 10 h 33"/>
                  <a:gd name="T30" fmla="*/ 34 w 34"/>
                  <a:gd name="T31" fmla="*/ 16 h 33"/>
                  <a:gd name="T32" fmla="*/ 34 w 34"/>
                  <a:gd name="T33" fmla="*/ 16 h 33"/>
                  <a:gd name="T34" fmla="*/ 33 w 34"/>
                  <a:gd name="T35" fmla="*/ 23 h 33"/>
                  <a:gd name="T36" fmla="*/ 30 w 34"/>
                  <a:gd name="T37" fmla="*/ 27 h 33"/>
                  <a:gd name="T38" fmla="*/ 24 w 34"/>
                  <a:gd name="T39" fmla="*/ 32 h 33"/>
                  <a:gd name="T40" fmla="*/ 18 w 34"/>
                  <a:gd name="T41" fmla="*/ 33 h 33"/>
                  <a:gd name="T42" fmla="*/ 18 w 34"/>
                  <a:gd name="T43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3">
                    <a:moveTo>
                      <a:pt x="18" y="33"/>
                    </a:moveTo>
                    <a:lnTo>
                      <a:pt x="18" y="33"/>
                    </a:lnTo>
                    <a:lnTo>
                      <a:pt x="11" y="32"/>
                    </a:lnTo>
                    <a:lnTo>
                      <a:pt x="5" y="27"/>
                    </a:lnTo>
                    <a:lnTo>
                      <a:pt x="2" y="23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0"/>
                    </a:lnTo>
                    <a:lnTo>
                      <a:pt x="5" y="4"/>
                    </a:lnTo>
                    <a:lnTo>
                      <a:pt x="11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4" y="0"/>
                    </a:lnTo>
                    <a:lnTo>
                      <a:pt x="30" y="4"/>
                    </a:lnTo>
                    <a:lnTo>
                      <a:pt x="33" y="10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3" y="23"/>
                    </a:lnTo>
                    <a:lnTo>
                      <a:pt x="30" y="27"/>
                    </a:lnTo>
                    <a:lnTo>
                      <a:pt x="24" y="32"/>
                    </a:lnTo>
                    <a:lnTo>
                      <a:pt x="18" y="33"/>
                    </a:lnTo>
                    <a:lnTo>
                      <a:pt x="18" y="3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de-DE" sz="1350"/>
              </a:p>
            </p:txBody>
          </p:sp>
          <p:sp>
            <p:nvSpPr>
              <p:cNvPr id="25" name="Freeform 561"/>
              <p:cNvSpPr>
                <a:spLocks/>
              </p:cNvSpPr>
              <p:nvPr/>
            </p:nvSpPr>
            <p:spPr bwMode="auto">
              <a:xfrm>
                <a:off x="4080633" y="4170193"/>
                <a:ext cx="150792" cy="152946"/>
              </a:xfrm>
              <a:custGeom>
                <a:avLst/>
                <a:gdLst>
                  <a:gd name="T0" fmla="*/ 70 w 70"/>
                  <a:gd name="T1" fmla="*/ 36 h 71"/>
                  <a:gd name="T2" fmla="*/ 70 w 70"/>
                  <a:gd name="T3" fmla="*/ 36 h 71"/>
                  <a:gd name="T4" fmla="*/ 69 w 70"/>
                  <a:gd name="T5" fmla="*/ 28 h 71"/>
                  <a:gd name="T6" fmla="*/ 67 w 70"/>
                  <a:gd name="T7" fmla="*/ 22 h 71"/>
                  <a:gd name="T8" fmla="*/ 63 w 70"/>
                  <a:gd name="T9" fmla="*/ 17 h 71"/>
                  <a:gd name="T10" fmla="*/ 60 w 70"/>
                  <a:gd name="T11" fmla="*/ 11 h 71"/>
                  <a:gd name="T12" fmla="*/ 54 w 70"/>
                  <a:gd name="T13" fmla="*/ 6 h 71"/>
                  <a:gd name="T14" fmla="*/ 48 w 70"/>
                  <a:gd name="T15" fmla="*/ 3 h 71"/>
                  <a:gd name="T16" fmla="*/ 42 w 70"/>
                  <a:gd name="T17" fmla="*/ 2 h 71"/>
                  <a:gd name="T18" fmla="*/ 35 w 70"/>
                  <a:gd name="T19" fmla="*/ 0 h 71"/>
                  <a:gd name="T20" fmla="*/ 35 w 70"/>
                  <a:gd name="T21" fmla="*/ 0 h 71"/>
                  <a:gd name="T22" fmla="*/ 28 w 70"/>
                  <a:gd name="T23" fmla="*/ 2 h 71"/>
                  <a:gd name="T24" fmla="*/ 22 w 70"/>
                  <a:gd name="T25" fmla="*/ 3 h 71"/>
                  <a:gd name="T26" fmla="*/ 16 w 70"/>
                  <a:gd name="T27" fmla="*/ 6 h 71"/>
                  <a:gd name="T28" fmla="*/ 10 w 70"/>
                  <a:gd name="T29" fmla="*/ 11 h 71"/>
                  <a:gd name="T30" fmla="*/ 6 w 70"/>
                  <a:gd name="T31" fmla="*/ 17 h 71"/>
                  <a:gd name="T32" fmla="*/ 3 w 70"/>
                  <a:gd name="T33" fmla="*/ 22 h 71"/>
                  <a:gd name="T34" fmla="*/ 1 w 70"/>
                  <a:gd name="T35" fmla="*/ 28 h 71"/>
                  <a:gd name="T36" fmla="*/ 0 w 70"/>
                  <a:gd name="T37" fmla="*/ 36 h 71"/>
                  <a:gd name="T38" fmla="*/ 0 w 70"/>
                  <a:gd name="T39" fmla="*/ 36 h 71"/>
                  <a:gd name="T40" fmla="*/ 1 w 70"/>
                  <a:gd name="T41" fmla="*/ 43 h 71"/>
                  <a:gd name="T42" fmla="*/ 3 w 70"/>
                  <a:gd name="T43" fmla="*/ 49 h 71"/>
                  <a:gd name="T44" fmla="*/ 6 w 70"/>
                  <a:gd name="T45" fmla="*/ 55 h 71"/>
                  <a:gd name="T46" fmla="*/ 10 w 70"/>
                  <a:gd name="T47" fmla="*/ 60 h 71"/>
                  <a:gd name="T48" fmla="*/ 16 w 70"/>
                  <a:gd name="T49" fmla="*/ 65 h 71"/>
                  <a:gd name="T50" fmla="*/ 22 w 70"/>
                  <a:gd name="T51" fmla="*/ 68 h 71"/>
                  <a:gd name="T52" fmla="*/ 28 w 70"/>
                  <a:gd name="T53" fmla="*/ 69 h 71"/>
                  <a:gd name="T54" fmla="*/ 35 w 70"/>
                  <a:gd name="T55" fmla="*/ 71 h 71"/>
                  <a:gd name="T56" fmla="*/ 35 w 70"/>
                  <a:gd name="T57" fmla="*/ 71 h 71"/>
                  <a:gd name="T58" fmla="*/ 42 w 70"/>
                  <a:gd name="T59" fmla="*/ 69 h 71"/>
                  <a:gd name="T60" fmla="*/ 48 w 70"/>
                  <a:gd name="T61" fmla="*/ 68 h 71"/>
                  <a:gd name="T62" fmla="*/ 54 w 70"/>
                  <a:gd name="T63" fmla="*/ 65 h 71"/>
                  <a:gd name="T64" fmla="*/ 60 w 70"/>
                  <a:gd name="T65" fmla="*/ 60 h 71"/>
                  <a:gd name="T66" fmla="*/ 63 w 70"/>
                  <a:gd name="T67" fmla="*/ 55 h 71"/>
                  <a:gd name="T68" fmla="*/ 67 w 70"/>
                  <a:gd name="T69" fmla="*/ 49 h 71"/>
                  <a:gd name="T70" fmla="*/ 69 w 70"/>
                  <a:gd name="T71" fmla="*/ 43 h 71"/>
                  <a:gd name="T72" fmla="*/ 70 w 70"/>
                  <a:gd name="T73" fmla="*/ 36 h 71"/>
                  <a:gd name="T74" fmla="*/ 70 w 70"/>
                  <a:gd name="T75" fmla="*/ 36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0" h="71">
                    <a:moveTo>
                      <a:pt x="70" y="36"/>
                    </a:moveTo>
                    <a:lnTo>
                      <a:pt x="70" y="36"/>
                    </a:lnTo>
                    <a:lnTo>
                      <a:pt x="69" y="28"/>
                    </a:lnTo>
                    <a:lnTo>
                      <a:pt x="67" y="22"/>
                    </a:lnTo>
                    <a:lnTo>
                      <a:pt x="63" y="17"/>
                    </a:lnTo>
                    <a:lnTo>
                      <a:pt x="60" y="11"/>
                    </a:lnTo>
                    <a:lnTo>
                      <a:pt x="54" y="6"/>
                    </a:lnTo>
                    <a:lnTo>
                      <a:pt x="48" y="3"/>
                    </a:lnTo>
                    <a:lnTo>
                      <a:pt x="42" y="2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28" y="2"/>
                    </a:lnTo>
                    <a:lnTo>
                      <a:pt x="22" y="3"/>
                    </a:lnTo>
                    <a:lnTo>
                      <a:pt x="16" y="6"/>
                    </a:lnTo>
                    <a:lnTo>
                      <a:pt x="10" y="11"/>
                    </a:lnTo>
                    <a:lnTo>
                      <a:pt x="6" y="17"/>
                    </a:lnTo>
                    <a:lnTo>
                      <a:pt x="3" y="22"/>
                    </a:lnTo>
                    <a:lnTo>
                      <a:pt x="1" y="28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1" y="43"/>
                    </a:lnTo>
                    <a:lnTo>
                      <a:pt x="3" y="49"/>
                    </a:lnTo>
                    <a:lnTo>
                      <a:pt x="6" y="55"/>
                    </a:lnTo>
                    <a:lnTo>
                      <a:pt x="10" y="60"/>
                    </a:lnTo>
                    <a:lnTo>
                      <a:pt x="16" y="65"/>
                    </a:lnTo>
                    <a:lnTo>
                      <a:pt x="22" y="68"/>
                    </a:lnTo>
                    <a:lnTo>
                      <a:pt x="28" y="69"/>
                    </a:lnTo>
                    <a:lnTo>
                      <a:pt x="35" y="71"/>
                    </a:lnTo>
                    <a:lnTo>
                      <a:pt x="35" y="71"/>
                    </a:lnTo>
                    <a:lnTo>
                      <a:pt x="42" y="69"/>
                    </a:lnTo>
                    <a:lnTo>
                      <a:pt x="48" y="68"/>
                    </a:lnTo>
                    <a:lnTo>
                      <a:pt x="54" y="65"/>
                    </a:lnTo>
                    <a:lnTo>
                      <a:pt x="60" y="60"/>
                    </a:lnTo>
                    <a:lnTo>
                      <a:pt x="63" y="55"/>
                    </a:lnTo>
                    <a:lnTo>
                      <a:pt x="67" y="49"/>
                    </a:lnTo>
                    <a:lnTo>
                      <a:pt x="69" y="43"/>
                    </a:lnTo>
                    <a:lnTo>
                      <a:pt x="70" y="36"/>
                    </a:lnTo>
                    <a:lnTo>
                      <a:pt x="70" y="36"/>
                    </a:lnTo>
                    <a:close/>
                  </a:path>
                </a:pathLst>
              </a:custGeom>
              <a:solidFill>
                <a:srgbClr val="504F6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de-DE" sz="1350"/>
              </a:p>
            </p:txBody>
          </p:sp>
          <p:sp>
            <p:nvSpPr>
              <p:cNvPr id="26" name="Freeform 562"/>
              <p:cNvSpPr>
                <a:spLocks/>
              </p:cNvSpPr>
              <p:nvPr/>
            </p:nvSpPr>
            <p:spPr bwMode="auto">
              <a:xfrm>
                <a:off x="4082787" y="4170193"/>
                <a:ext cx="86167" cy="58163"/>
              </a:xfrm>
              <a:custGeom>
                <a:avLst/>
                <a:gdLst>
                  <a:gd name="T0" fmla="*/ 40 w 40"/>
                  <a:gd name="T1" fmla="*/ 2 h 27"/>
                  <a:gd name="T2" fmla="*/ 40 w 40"/>
                  <a:gd name="T3" fmla="*/ 2 h 27"/>
                  <a:gd name="T4" fmla="*/ 34 w 40"/>
                  <a:gd name="T5" fmla="*/ 0 h 27"/>
                  <a:gd name="T6" fmla="*/ 34 w 40"/>
                  <a:gd name="T7" fmla="*/ 0 h 27"/>
                  <a:gd name="T8" fmla="*/ 28 w 40"/>
                  <a:gd name="T9" fmla="*/ 2 h 27"/>
                  <a:gd name="T10" fmla="*/ 22 w 40"/>
                  <a:gd name="T11" fmla="*/ 3 h 27"/>
                  <a:gd name="T12" fmla="*/ 16 w 40"/>
                  <a:gd name="T13" fmla="*/ 5 h 27"/>
                  <a:gd name="T14" fmla="*/ 12 w 40"/>
                  <a:gd name="T15" fmla="*/ 9 h 27"/>
                  <a:gd name="T16" fmla="*/ 8 w 40"/>
                  <a:gd name="T17" fmla="*/ 12 h 27"/>
                  <a:gd name="T18" fmla="*/ 5 w 40"/>
                  <a:gd name="T19" fmla="*/ 17 h 27"/>
                  <a:gd name="T20" fmla="*/ 2 w 40"/>
                  <a:gd name="T21" fmla="*/ 22 h 27"/>
                  <a:gd name="T22" fmla="*/ 0 w 40"/>
                  <a:gd name="T23" fmla="*/ 27 h 27"/>
                  <a:gd name="T24" fmla="*/ 0 w 40"/>
                  <a:gd name="T25" fmla="*/ 27 h 27"/>
                  <a:gd name="T26" fmla="*/ 12 w 40"/>
                  <a:gd name="T27" fmla="*/ 24 h 27"/>
                  <a:gd name="T28" fmla="*/ 22 w 40"/>
                  <a:gd name="T29" fmla="*/ 18 h 27"/>
                  <a:gd name="T30" fmla="*/ 33 w 40"/>
                  <a:gd name="T31" fmla="*/ 11 h 27"/>
                  <a:gd name="T32" fmla="*/ 40 w 40"/>
                  <a:gd name="T33" fmla="*/ 2 h 27"/>
                  <a:gd name="T34" fmla="*/ 40 w 40"/>
                  <a:gd name="T35" fmla="*/ 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0" h="27">
                    <a:moveTo>
                      <a:pt x="40" y="2"/>
                    </a:moveTo>
                    <a:lnTo>
                      <a:pt x="40" y="2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8" y="2"/>
                    </a:lnTo>
                    <a:lnTo>
                      <a:pt x="22" y="3"/>
                    </a:lnTo>
                    <a:lnTo>
                      <a:pt x="16" y="5"/>
                    </a:lnTo>
                    <a:lnTo>
                      <a:pt x="12" y="9"/>
                    </a:lnTo>
                    <a:lnTo>
                      <a:pt x="8" y="12"/>
                    </a:lnTo>
                    <a:lnTo>
                      <a:pt x="5" y="17"/>
                    </a:lnTo>
                    <a:lnTo>
                      <a:pt x="2" y="22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12" y="24"/>
                    </a:lnTo>
                    <a:lnTo>
                      <a:pt x="22" y="18"/>
                    </a:lnTo>
                    <a:lnTo>
                      <a:pt x="33" y="11"/>
                    </a:lnTo>
                    <a:lnTo>
                      <a:pt x="40" y="2"/>
                    </a:lnTo>
                    <a:lnTo>
                      <a:pt x="40" y="2"/>
                    </a:lnTo>
                    <a:close/>
                  </a:path>
                </a:pathLst>
              </a:custGeom>
              <a:solidFill>
                <a:srgbClr val="9595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de-DE" sz="1350"/>
              </a:p>
            </p:txBody>
          </p:sp>
          <p:sp>
            <p:nvSpPr>
              <p:cNvPr id="27" name="Freeform 563"/>
              <p:cNvSpPr>
                <a:spLocks/>
              </p:cNvSpPr>
              <p:nvPr/>
            </p:nvSpPr>
            <p:spPr bwMode="auto">
              <a:xfrm>
                <a:off x="4112946" y="4202506"/>
                <a:ext cx="88321" cy="88321"/>
              </a:xfrm>
              <a:custGeom>
                <a:avLst/>
                <a:gdLst>
                  <a:gd name="T0" fmla="*/ 41 w 41"/>
                  <a:gd name="T1" fmla="*/ 21 h 41"/>
                  <a:gd name="T2" fmla="*/ 41 w 41"/>
                  <a:gd name="T3" fmla="*/ 21 h 41"/>
                  <a:gd name="T4" fmla="*/ 39 w 41"/>
                  <a:gd name="T5" fmla="*/ 13 h 41"/>
                  <a:gd name="T6" fmla="*/ 35 w 41"/>
                  <a:gd name="T7" fmla="*/ 6 h 41"/>
                  <a:gd name="T8" fmla="*/ 27 w 41"/>
                  <a:gd name="T9" fmla="*/ 2 h 41"/>
                  <a:gd name="T10" fmla="*/ 20 w 41"/>
                  <a:gd name="T11" fmla="*/ 0 h 41"/>
                  <a:gd name="T12" fmla="*/ 20 w 41"/>
                  <a:gd name="T13" fmla="*/ 0 h 41"/>
                  <a:gd name="T14" fmla="*/ 11 w 41"/>
                  <a:gd name="T15" fmla="*/ 2 h 41"/>
                  <a:gd name="T16" fmla="*/ 5 w 41"/>
                  <a:gd name="T17" fmla="*/ 6 h 41"/>
                  <a:gd name="T18" fmla="*/ 1 w 41"/>
                  <a:gd name="T19" fmla="*/ 13 h 41"/>
                  <a:gd name="T20" fmla="*/ 0 w 41"/>
                  <a:gd name="T21" fmla="*/ 21 h 41"/>
                  <a:gd name="T22" fmla="*/ 0 w 41"/>
                  <a:gd name="T23" fmla="*/ 21 h 41"/>
                  <a:gd name="T24" fmla="*/ 1 w 41"/>
                  <a:gd name="T25" fmla="*/ 29 h 41"/>
                  <a:gd name="T26" fmla="*/ 5 w 41"/>
                  <a:gd name="T27" fmla="*/ 35 h 41"/>
                  <a:gd name="T28" fmla="*/ 11 w 41"/>
                  <a:gd name="T29" fmla="*/ 40 h 41"/>
                  <a:gd name="T30" fmla="*/ 20 w 41"/>
                  <a:gd name="T31" fmla="*/ 41 h 41"/>
                  <a:gd name="T32" fmla="*/ 20 w 41"/>
                  <a:gd name="T33" fmla="*/ 41 h 41"/>
                  <a:gd name="T34" fmla="*/ 27 w 41"/>
                  <a:gd name="T35" fmla="*/ 40 h 41"/>
                  <a:gd name="T36" fmla="*/ 35 w 41"/>
                  <a:gd name="T37" fmla="*/ 35 h 41"/>
                  <a:gd name="T38" fmla="*/ 39 w 41"/>
                  <a:gd name="T39" fmla="*/ 29 h 41"/>
                  <a:gd name="T40" fmla="*/ 41 w 41"/>
                  <a:gd name="T41" fmla="*/ 21 h 41"/>
                  <a:gd name="T42" fmla="*/ 41 w 41"/>
                  <a:gd name="T43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1">
                    <a:moveTo>
                      <a:pt x="41" y="21"/>
                    </a:moveTo>
                    <a:lnTo>
                      <a:pt x="41" y="21"/>
                    </a:lnTo>
                    <a:lnTo>
                      <a:pt x="39" y="13"/>
                    </a:lnTo>
                    <a:lnTo>
                      <a:pt x="35" y="6"/>
                    </a:lnTo>
                    <a:lnTo>
                      <a:pt x="27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1" y="2"/>
                    </a:lnTo>
                    <a:lnTo>
                      <a:pt x="5" y="6"/>
                    </a:lnTo>
                    <a:lnTo>
                      <a:pt x="1" y="13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1" y="29"/>
                    </a:lnTo>
                    <a:lnTo>
                      <a:pt x="5" y="35"/>
                    </a:lnTo>
                    <a:lnTo>
                      <a:pt x="11" y="40"/>
                    </a:lnTo>
                    <a:lnTo>
                      <a:pt x="20" y="41"/>
                    </a:lnTo>
                    <a:lnTo>
                      <a:pt x="20" y="41"/>
                    </a:lnTo>
                    <a:lnTo>
                      <a:pt x="27" y="40"/>
                    </a:lnTo>
                    <a:lnTo>
                      <a:pt x="35" y="35"/>
                    </a:lnTo>
                    <a:lnTo>
                      <a:pt x="39" y="29"/>
                    </a:lnTo>
                    <a:lnTo>
                      <a:pt x="41" y="21"/>
                    </a:lnTo>
                    <a:lnTo>
                      <a:pt x="41" y="21"/>
                    </a:lnTo>
                    <a:close/>
                  </a:path>
                </a:pathLst>
              </a:custGeom>
              <a:solidFill>
                <a:srgbClr val="2D2D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de-DE" sz="1350"/>
              </a:p>
            </p:txBody>
          </p:sp>
          <p:sp>
            <p:nvSpPr>
              <p:cNvPr id="28" name="Freeform 564"/>
              <p:cNvSpPr>
                <a:spLocks/>
              </p:cNvSpPr>
              <p:nvPr/>
            </p:nvSpPr>
            <p:spPr bwMode="auto">
              <a:xfrm>
                <a:off x="4117254" y="4213277"/>
                <a:ext cx="73242" cy="71088"/>
              </a:xfrm>
              <a:custGeom>
                <a:avLst/>
                <a:gdLst>
                  <a:gd name="T0" fmla="*/ 18 w 34"/>
                  <a:gd name="T1" fmla="*/ 33 h 33"/>
                  <a:gd name="T2" fmla="*/ 18 w 34"/>
                  <a:gd name="T3" fmla="*/ 33 h 33"/>
                  <a:gd name="T4" fmla="*/ 11 w 34"/>
                  <a:gd name="T5" fmla="*/ 32 h 33"/>
                  <a:gd name="T6" fmla="*/ 6 w 34"/>
                  <a:gd name="T7" fmla="*/ 27 h 33"/>
                  <a:gd name="T8" fmla="*/ 2 w 34"/>
                  <a:gd name="T9" fmla="*/ 23 h 33"/>
                  <a:gd name="T10" fmla="*/ 0 w 34"/>
                  <a:gd name="T11" fmla="*/ 16 h 33"/>
                  <a:gd name="T12" fmla="*/ 0 w 34"/>
                  <a:gd name="T13" fmla="*/ 16 h 33"/>
                  <a:gd name="T14" fmla="*/ 2 w 34"/>
                  <a:gd name="T15" fmla="*/ 10 h 33"/>
                  <a:gd name="T16" fmla="*/ 6 w 34"/>
                  <a:gd name="T17" fmla="*/ 4 h 33"/>
                  <a:gd name="T18" fmla="*/ 11 w 34"/>
                  <a:gd name="T19" fmla="*/ 0 h 33"/>
                  <a:gd name="T20" fmla="*/ 18 w 34"/>
                  <a:gd name="T21" fmla="*/ 0 h 33"/>
                  <a:gd name="T22" fmla="*/ 18 w 34"/>
                  <a:gd name="T23" fmla="*/ 0 h 33"/>
                  <a:gd name="T24" fmla="*/ 24 w 34"/>
                  <a:gd name="T25" fmla="*/ 0 h 33"/>
                  <a:gd name="T26" fmla="*/ 30 w 34"/>
                  <a:gd name="T27" fmla="*/ 4 h 33"/>
                  <a:gd name="T28" fmla="*/ 33 w 34"/>
                  <a:gd name="T29" fmla="*/ 10 h 33"/>
                  <a:gd name="T30" fmla="*/ 34 w 34"/>
                  <a:gd name="T31" fmla="*/ 16 h 33"/>
                  <a:gd name="T32" fmla="*/ 34 w 34"/>
                  <a:gd name="T33" fmla="*/ 16 h 33"/>
                  <a:gd name="T34" fmla="*/ 33 w 34"/>
                  <a:gd name="T35" fmla="*/ 23 h 33"/>
                  <a:gd name="T36" fmla="*/ 30 w 34"/>
                  <a:gd name="T37" fmla="*/ 27 h 33"/>
                  <a:gd name="T38" fmla="*/ 24 w 34"/>
                  <a:gd name="T39" fmla="*/ 32 h 33"/>
                  <a:gd name="T40" fmla="*/ 18 w 34"/>
                  <a:gd name="T41" fmla="*/ 33 h 33"/>
                  <a:gd name="T42" fmla="*/ 18 w 34"/>
                  <a:gd name="T43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33">
                    <a:moveTo>
                      <a:pt x="18" y="33"/>
                    </a:moveTo>
                    <a:lnTo>
                      <a:pt x="18" y="33"/>
                    </a:lnTo>
                    <a:lnTo>
                      <a:pt x="11" y="32"/>
                    </a:lnTo>
                    <a:lnTo>
                      <a:pt x="6" y="27"/>
                    </a:lnTo>
                    <a:lnTo>
                      <a:pt x="2" y="23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0"/>
                    </a:lnTo>
                    <a:lnTo>
                      <a:pt x="6" y="4"/>
                    </a:lnTo>
                    <a:lnTo>
                      <a:pt x="11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4" y="0"/>
                    </a:lnTo>
                    <a:lnTo>
                      <a:pt x="30" y="4"/>
                    </a:lnTo>
                    <a:lnTo>
                      <a:pt x="33" y="10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3" y="23"/>
                    </a:lnTo>
                    <a:lnTo>
                      <a:pt x="30" y="27"/>
                    </a:lnTo>
                    <a:lnTo>
                      <a:pt x="24" y="32"/>
                    </a:lnTo>
                    <a:lnTo>
                      <a:pt x="18" y="33"/>
                    </a:lnTo>
                    <a:lnTo>
                      <a:pt x="18" y="3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de-DE" sz="1350"/>
              </a:p>
            </p:txBody>
          </p:sp>
        </p:grpSp>
      </p:grpSp>
      <p:sp>
        <p:nvSpPr>
          <p:cNvPr id="40" name="Ellipse 39"/>
          <p:cNvSpPr/>
          <p:nvPr userDrawn="1"/>
        </p:nvSpPr>
        <p:spPr>
          <a:xfrm>
            <a:off x="6408963" y="3845519"/>
            <a:ext cx="622387" cy="444758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sz="900">
              <a:solidFill>
                <a:schemeClr val="bg1"/>
              </a:solidFill>
              <a:latin typeface="Univers for KPMG" panose="020B0603020202020204" pitchFamily="34" charset="0"/>
              <a:cs typeface="KPMG Extralight"/>
            </a:endParaRPr>
          </a:p>
        </p:txBody>
      </p:sp>
      <p:sp>
        <p:nvSpPr>
          <p:cNvPr id="41" name="Ellipse 40"/>
          <p:cNvSpPr/>
          <p:nvPr userDrawn="1"/>
        </p:nvSpPr>
        <p:spPr>
          <a:xfrm>
            <a:off x="6233723" y="4445884"/>
            <a:ext cx="929396" cy="664148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sz="900">
              <a:solidFill>
                <a:schemeClr val="bg1"/>
              </a:solidFill>
              <a:latin typeface="Univers for KPMG" panose="020B0603020202020204" pitchFamily="34" charset="0"/>
              <a:cs typeface="KPMG Extralight"/>
            </a:endParaRPr>
          </a:p>
        </p:txBody>
      </p:sp>
      <p:grpSp>
        <p:nvGrpSpPr>
          <p:cNvPr id="42" name="Group 225"/>
          <p:cNvGrpSpPr/>
          <p:nvPr userDrawn="1"/>
        </p:nvGrpSpPr>
        <p:grpSpPr>
          <a:xfrm>
            <a:off x="6566068" y="3914966"/>
            <a:ext cx="351647" cy="292720"/>
            <a:chOff x="4671757" y="2697239"/>
            <a:chExt cx="582613" cy="596900"/>
          </a:xfrm>
        </p:grpSpPr>
        <p:sp>
          <p:nvSpPr>
            <p:cNvPr id="43" name="Freeform 325"/>
            <p:cNvSpPr>
              <a:spLocks/>
            </p:cNvSpPr>
            <p:nvPr/>
          </p:nvSpPr>
          <p:spPr bwMode="auto">
            <a:xfrm>
              <a:off x="4671757" y="2697239"/>
              <a:ext cx="436563" cy="596900"/>
            </a:xfrm>
            <a:custGeom>
              <a:avLst/>
              <a:gdLst>
                <a:gd name="T0" fmla="*/ 0 w 275"/>
                <a:gd name="T1" fmla="*/ 376 h 376"/>
                <a:gd name="T2" fmla="*/ 0 w 275"/>
                <a:gd name="T3" fmla="*/ 174 h 376"/>
                <a:gd name="T4" fmla="*/ 0 w 275"/>
                <a:gd name="T5" fmla="*/ 73 h 376"/>
                <a:gd name="T6" fmla="*/ 71 w 275"/>
                <a:gd name="T7" fmla="*/ 0 h 376"/>
                <a:gd name="T8" fmla="*/ 275 w 275"/>
                <a:gd name="T9" fmla="*/ 0 h 376"/>
                <a:gd name="T10" fmla="*/ 275 w 275"/>
                <a:gd name="T11" fmla="*/ 75 h 376"/>
                <a:gd name="T12" fmla="*/ 275 w 275"/>
                <a:gd name="T13" fmla="*/ 174 h 376"/>
                <a:gd name="T14" fmla="*/ 275 w 275"/>
                <a:gd name="T15" fmla="*/ 376 h 376"/>
                <a:gd name="T16" fmla="*/ 0 w 275"/>
                <a:gd name="T17" fmla="*/ 37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5" h="376">
                  <a:moveTo>
                    <a:pt x="0" y="376"/>
                  </a:moveTo>
                  <a:lnTo>
                    <a:pt x="0" y="174"/>
                  </a:lnTo>
                  <a:lnTo>
                    <a:pt x="0" y="73"/>
                  </a:lnTo>
                  <a:lnTo>
                    <a:pt x="71" y="0"/>
                  </a:lnTo>
                  <a:lnTo>
                    <a:pt x="275" y="0"/>
                  </a:lnTo>
                  <a:lnTo>
                    <a:pt x="275" y="75"/>
                  </a:lnTo>
                  <a:lnTo>
                    <a:pt x="275" y="174"/>
                  </a:lnTo>
                  <a:lnTo>
                    <a:pt x="275" y="376"/>
                  </a:lnTo>
                  <a:lnTo>
                    <a:pt x="0" y="37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sz="1350"/>
            </a:p>
          </p:txBody>
        </p:sp>
        <p:sp>
          <p:nvSpPr>
            <p:cNvPr id="44" name="Freeform 326"/>
            <p:cNvSpPr>
              <a:spLocks/>
            </p:cNvSpPr>
            <p:nvPr/>
          </p:nvSpPr>
          <p:spPr bwMode="auto">
            <a:xfrm>
              <a:off x="4671757" y="2697239"/>
              <a:ext cx="112713" cy="115888"/>
            </a:xfrm>
            <a:custGeom>
              <a:avLst/>
              <a:gdLst>
                <a:gd name="T0" fmla="*/ 71 w 71"/>
                <a:gd name="T1" fmla="*/ 73 h 73"/>
                <a:gd name="T2" fmla="*/ 0 w 71"/>
                <a:gd name="T3" fmla="*/ 73 h 73"/>
                <a:gd name="T4" fmla="*/ 71 w 71"/>
                <a:gd name="T5" fmla="*/ 0 h 73"/>
                <a:gd name="T6" fmla="*/ 71 w 71"/>
                <a:gd name="T7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" h="73">
                  <a:moveTo>
                    <a:pt x="71" y="73"/>
                  </a:moveTo>
                  <a:lnTo>
                    <a:pt x="0" y="73"/>
                  </a:lnTo>
                  <a:lnTo>
                    <a:pt x="71" y="0"/>
                  </a:lnTo>
                  <a:lnTo>
                    <a:pt x="71" y="73"/>
                  </a:lnTo>
                  <a:close/>
                </a:path>
              </a:pathLst>
            </a:custGeom>
            <a:solidFill>
              <a:srgbClr val="FEC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sz="1350"/>
            </a:p>
          </p:txBody>
        </p:sp>
        <p:sp>
          <p:nvSpPr>
            <p:cNvPr id="45" name="Freeform 327"/>
            <p:cNvSpPr>
              <a:spLocks/>
            </p:cNvSpPr>
            <p:nvPr/>
          </p:nvSpPr>
          <p:spPr bwMode="auto">
            <a:xfrm>
              <a:off x="4671757" y="2813126"/>
              <a:ext cx="112713" cy="115888"/>
            </a:xfrm>
            <a:custGeom>
              <a:avLst/>
              <a:gdLst>
                <a:gd name="T0" fmla="*/ 0 w 71"/>
                <a:gd name="T1" fmla="*/ 0 h 73"/>
                <a:gd name="T2" fmla="*/ 71 w 71"/>
                <a:gd name="T3" fmla="*/ 0 h 73"/>
                <a:gd name="T4" fmla="*/ 0 w 71"/>
                <a:gd name="T5" fmla="*/ 73 h 73"/>
                <a:gd name="T6" fmla="*/ 0 w 71"/>
                <a:gd name="T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" h="73">
                  <a:moveTo>
                    <a:pt x="0" y="0"/>
                  </a:moveTo>
                  <a:lnTo>
                    <a:pt x="71" y="0"/>
                  </a:lnTo>
                  <a:lnTo>
                    <a:pt x="0" y="7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EC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sz="1350"/>
            </a:p>
          </p:txBody>
        </p:sp>
        <p:sp>
          <p:nvSpPr>
            <p:cNvPr id="46" name="Freeform 328"/>
            <p:cNvSpPr>
              <a:spLocks/>
            </p:cNvSpPr>
            <p:nvPr/>
          </p:nvSpPr>
          <p:spPr bwMode="auto">
            <a:xfrm>
              <a:off x="4805107" y="3056014"/>
              <a:ext cx="179388" cy="182563"/>
            </a:xfrm>
            <a:custGeom>
              <a:avLst/>
              <a:gdLst>
                <a:gd name="T0" fmla="*/ 18 w 113"/>
                <a:gd name="T1" fmla="*/ 43 h 115"/>
                <a:gd name="T2" fmla="*/ 18 w 113"/>
                <a:gd name="T3" fmla="*/ 43 h 115"/>
                <a:gd name="T4" fmla="*/ 21 w 113"/>
                <a:gd name="T5" fmla="*/ 49 h 115"/>
                <a:gd name="T6" fmla="*/ 22 w 113"/>
                <a:gd name="T7" fmla="*/ 55 h 115"/>
                <a:gd name="T8" fmla="*/ 21 w 113"/>
                <a:gd name="T9" fmla="*/ 63 h 115"/>
                <a:gd name="T10" fmla="*/ 19 w 113"/>
                <a:gd name="T11" fmla="*/ 71 h 115"/>
                <a:gd name="T12" fmla="*/ 16 w 113"/>
                <a:gd name="T13" fmla="*/ 80 h 115"/>
                <a:gd name="T14" fmla="*/ 12 w 113"/>
                <a:gd name="T15" fmla="*/ 89 h 115"/>
                <a:gd name="T16" fmla="*/ 6 w 113"/>
                <a:gd name="T17" fmla="*/ 97 h 115"/>
                <a:gd name="T18" fmla="*/ 0 w 113"/>
                <a:gd name="T19" fmla="*/ 106 h 115"/>
                <a:gd name="T20" fmla="*/ 2 w 113"/>
                <a:gd name="T21" fmla="*/ 108 h 115"/>
                <a:gd name="T22" fmla="*/ 2 w 113"/>
                <a:gd name="T23" fmla="*/ 108 h 115"/>
                <a:gd name="T24" fmla="*/ 48 w 113"/>
                <a:gd name="T25" fmla="*/ 63 h 115"/>
                <a:gd name="T26" fmla="*/ 48 w 113"/>
                <a:gd name="T27" fmla="*/ 63 h 115"/>
                <a:gd name="T28" fmla="*/ 47 w 113"/>
                <a:gd name="T29" fmla="*/ 59 h 115"/>
                <a:gd name="T30" fmla="*/ 49 w 113"/>
                <a:gd name="T31" fmla="*/ 55 h 115"/>
                <a:gd name="T32" fmla="*/ 49 w 113"/>
                <a:gd name="T33" fmla="*/ 55 h 115"/>
                <a:gd name="T34" fmla="*/ 50 w 113"/>
                <a:gd name="T35" fmla="*/ 54 h 115"/>
                <a:gd name="T36" fmla="*/ 53 w 113"/>
                <a:gd name="T37" fmla="*/ 54 h 115"/>
                <a:gd name="T38" fmla="*/ 55 w 113"/>
                <a:gd name="T39" fmla="*/ 54 h 115"/>
                <a:gd name="T40" fmla="*/ 58 w 113"/>
                <a:gd name="T41" fmla="*/ 55 h 115"/>
                <a:gd name="T42" fmla="*/ 58 w 113"/>
                <a:gd name="T43" fmla="*/ 55 h 115"/>
                <a:gd name="T44" fmla="*/ 59 w 113"/>
                <a:gd name="T45" fmla="*/ 58 h 115"/>
                <a:gd name="T46" fmla="*/ 59 w 113"/>
                <a:gd name="T47" fmla="*/ 60 h 115"/>
                <a:gd name="T48" fmla="*/ 59 w 113"/>
                <a:gd name="T49" fmla="*/ 63 h 115"/>
                <a:gd name="T50" fmla="*/ 58 w 113"/>
                <a:gd name="T51" fmla="*/ 64 h 115"/>
                <a:gd name="T52" fmla="*/ 58 w 113"/>
                <a:gd name="T53" fmla="*/ 64 h 115"/>
                <a:gd name="T54" fmla="*/ 54 w 113"/>
                <a:gd name="T55" fmla="*/ 67 h 115"/>
                <a:gd name="T56" fmla="*/ 50 w 113"/>
                <a:gd name="T57" fmla="*/ 65 h 115"/>
                <a:gd name="T58" fmla="*/ 5 w 113"/>
                <a:gd name="T59" fmla="*/ 111 h 115"/>
                <a:gd name="T60" fmla="*/ 5 w 113"/>
                <a:gd name="T61" fmla="*/ 111 h 115"/>
                <a:gd name="T62" fmla="*/ 7 w 113"/>
                <a:gd name="T63" fmla="*/ 115 h 115"/>
                <a:gd name="T64" fmla="*/ 7 w 113"/>
                <a:gd name="T65" fmla="*/ 115 h 115"/>
                <a:gd name="T66" fmla="*/ 16 w 113"/>
                <a:gd name="T67" fmla="*/ 107 h 115"/>
                <a:gd name="T68" fmla="*/ 24 w 113"/>
                <a:gd name="T69" fmla="*/ 102 h 115"/>
                <a:gd name="T70" fmla="*/ 33 w 113"/>
                <a:gd name="T71" fmla="*/ 97 h 115"/>
                <a:gd name="T72" fmla="*/ 42 w 113"/>
                <a:gd name="T73" fmla="*/ 94 h 115"/>
                <a:gd name="T74" fmla="*/ 50 w 113"/>
                <a:gd name="T75" fmla="*/ 92 h 115"/>
                <a:gd name="T76" fmla="*/ 58 w 113"/>
                <a:gd name="T77" fmla="*/ 91 h 115"/>
                <a:gd name="T78" fmla="*/ 65 w 113"/>
                <a:gd name="T79" fmla="*/ 92 h 115"/>
                <a:gd name="T80" fmla="*/ 71 w 113"/>
                <a:gd name="T81" fmla="*/ 95 h 115"/>
                <a:gd name="T82" fmla="*/ 71 w 113"/>
                <a:gd name="T83" fmla="*/ 95 h 115"/>
                <a:gd name="T84" fmla="*/ 80 w 113"/>
                <a:gd name="T85" fmla="*/ 81 h 115"/>
                <a:gd name="T86" fmla="*/ 90 w 113"/>
                <a:gd name="T87" fmla="*/ 67 h 115"/>
                <a:gd name="T88" fmla="*/ 90 w 113"/>
                <a:gd name="T89" fmla="*/ 67 h 115"/>
                <a:gd name="T90" fmla="*/ 102 w 113"/>
                <a:gd name="T91" fmla="*/ 54 h 115"/>
                <a:gd name="T92" fmla="*/ 113 w 113"/>
                <a:gd name="T93" fmla="*/ 43 h 115"/>
                <a:gd name="T94" fmla="*/ 113 w 113"/>
                <a:gd name="T95" fmla="*/ 43 h 115"/>
                <a:gd name="T96" fmla="*/ 102 w 113"/>
                <a:gd name="T97" fmla="*/ 34 h 115"/>
                <a:gd name="T98" fmla="*/ 90 w 113"/>
                <a:gd name="T99" fmla="*/ 23 h 115"/>
                <a:gd name="T100" fmla="*/ 90 w 113"/>
                <a:gd name="T101" fmla="*/ 23 h 115"/>
                <a:gd name="T102" fmla="*/ 80 w 113"/>
                <a:gd name="T103" fmla="*/ 12 h 115"/>
                <a:gd name="T104" fmla="*/ 70 w 113"/>
                <a:gd name="T105" fmla="*/ 0 h 115"/>
                <a:gd name="T106" fmla="*/ 70 w 113"/>
                <a:gd name="T107" fmla="*/ 0 h 115"/>
                <a:gd name="T108" fmla="*/ 59 w 113"/>
                <a:gd name="T109" fmla="*/ 12 h 115"/>
                <a:gd name="T110" fmla="*/ 47 w 113"/>
                <a:gd name="T111" fmla="*/ 23 h 115"/>
                <a:gd name="T112" fmla="*/ 47 w 113"/>
                <a:gd name="T113" fmla="*/ 23 h 115"/>
                <a:gd name="T114" fmla="*/ 33 w 113"/>
                <a:gd name="T115" fmla="*/ 33 h 115"/>
                <a:gd name="T116" fmla="*/ 18 w 113"/>
                <a:gd name="T117" fmla="*/ 43 h 115"/>
                <a:gd name="T118" fmla="*/ 18 w 113"/>
                <a:gd name="T119" fmla="*/ 4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" h="115">
                  <a:moveTo>
                    <a:pt x="18" y="43"/>
                  </a:moveTo>
                  <a:lnTo>
                    <a:pt x="18" y="43"/>
                  </a:lnTo>
                  <a:lnTo>
                    <a:pt x="21" y="49"/>
                  </a:lnTo>
                  <a:lnTo>
                    <a:pt x="22" y="55"/>
                  </a:lnTo>
                  <a:lnTo>
                    <a:pt x="21" y="63"/>
                  </a:lnTo>
                  <a:lnTo>
                    <a:pt x="19" y="71"/>
                  </a:lnTo>
                  <a:lnTo>
                    <a:pt x="16" y="80"/>
                  </a:lnTo>
                  <a:lnTo>
                    <a:pt x="12" y="89"/>
                  </a:lnTo>
                  <a:lnTo>
                    <a:pt x="6" y="97"/>
                  </a:lnTo>
                  <a:lnTo>
                    <a:pt x="0" y="106"/>
                  </a:lnTo>
                  <a:lnTo>
                    <a:pt x="2" y="108"/>
                  </a:lnTo>
                  <a:lnTo>
                    <a:pt x="2" y="108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7" y="59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50" y="54"/>
                  </a:lnTo>
                  <a:lnTo>
                    <a:pt x="53" y="54"/>
                  </a:lnTo>
                  <a:lnTo>
                    <a:pt x="55" y="54"/>
                  </a:lnTo>
                  <a:lnTo>
                    <a:pt x="58" y="55"/>
                  </a:lnTo>
                  <a:lnTo>
                    <a:pt x="58" y="55"/>
                  </a:lnTo>
                  <a:lnTo>
                    <a:pt x="59" y="58"/>
                  </a:lnTo>
                  <a:lnTo>
                    <a:pt x="59" y="60"/>
                  </a:lnTo>
                  <a:lnTo>
                    <a:pt x="59" y="63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54" y="67"/>
                  </a:lnTo>
                  <a:lnTo>
                    <a:pt x="50" y="65"/>
                  </a:lnTo>
                  <a:lnTo>
                    <a:pt x="5" y="111"/>
                  </a:lnTo>
                  <a:lnTo>
                    <a:pt x="5" y="111"/>
                  </a:lnTo>
                  <a:lnTo>
                    <a:pt x="7" y="115"/>
                  </a:lnTo>
                  <a:lnTo>
                    <a:pt x="7" y="115"/>
                  </a:lnTo>
                  <a:lnTo>
                    <a:pt x="16" y="107"/>
                  </a:lnTo>
                  <a:lnTo>
                    <a:pt x="24" y="102"/>
                  </a:lnTo>
                  <a:lnTo>
                    <a:pt x="33" y="97"/>
                  </a:lnTo>
                  <a:lnTo>
                    <a:pt x="42" y="94"/>
                  </a:lnTo>
                  <a:lnTo>
                    <a:pt x="50" y="92"/>
                  </a:lnTo>
                  <a:lnTo>
                    <a:pt x="58" y="91"/>
                  </a:lnTo>
                  <a:lnTo>
                    <a:pt x="65" y="92"/>
                  </a:lnTo>
                  <a:lnTo>
                    <a:pt x="71" y="95"/>
                  </a:lnTo>
                  <a:lnTo>
                    <a:pt x="71" y="95"/>
                  </a:lnTo>
                  <a:lnTo>
                    <a:pt x="80" y="81"/>
                  </a:lnTo>
                  <a:lnTo>
                    <a:pt x="90" y="67"/>
                  </a:lnTo>
                  <a:lnTo>
                    <a:pt x="90" y="67"/>
                  </a:lnTo>
                  <a:lnTo>
                    <a:pt x="102" y="54"/>
                  </a:lnTo>
                  <a:lnTo>
                    <a:pt x="113" y="43"/>
                  </a:lnTo>
                  <a:lnTo>
                    <a:pt x="113" y="43"/>
                  </a:lnTo>
                  <a:lnTo>
                    <a:pt x="102" y="34"/>
                  </a:lnTo>
                  <a:lnTo>
                    <a:pt x="90" y="23"/>
                  </a:lnTo>
                  <a:lnTo>
                    <a:pt x="90" y="23"/>
                  </a:lnTo>
                  <a:lnTo>
                    <a:pt x="80" y="12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59" y="12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33" y="33"/>
                  </a:lnTo>
                  <a:lnTo>
                    <a:pt x="18" y="43"/>
                  </a:lnTo>
                  <a:lnTo>
                    <a:pt x="18" y="43"/>
                  </a:lnTo>
                  <a:close/>
                </a:path>
              </a:pathLst>
            </a:custGeom>
            <a:solidFill>
              <a:srgbClr val="0E30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sz="1350"/>
            </a:p>
          </p:txBody>
        </p:sp>
        <p:sp>
          <p:nvSpPr>
            <p:cNvPr id="47" name="Freeform 329"/>
            <p:cNvSpPr>
              <a:spLocks/>
            </p:cNvSpPr>
            <p:nvPr/>
          </p:nvSpPr>
          <p:spPr bwMode="auto">
            <a:xfrm>
              <a:off x="4917819" y="2862339"/>
              <a:ext cx="260350" cy="261938"/>
            </a:xfrm>
            <a:custGeom>
              <a:avLst/>
              <a:gdLst>
                <a:gd name="T0" fmla="*/ 156 w 164"/>
                <a:gd name="T1" fmla="*/ 45 h 165"/>
                <a:gd name="T2" fmla="*/ 156 w 164"/>
                <a:gd name="T3" fmla="*/ 45 h 165"/>
                <a:gd name="T4" fmla="*/ 159 w 164"/>
                <a:gd name="T5" fmla="*/ 41 h 165"/>
                <a:gd name="T6" fmla="*/ 162 w 164"/>
                <a:gd name="T7" fmla="*/ 36 h 165"/>
                <a:gd name="T8" fmla="*/ 164 w 164"/>
                <a:gd name="T9" fmla="*/ 31 h 165"/>
                <a:gd name="T10" fmla="*/ 164 w 164"/>
                <a:gd name="T11" fmla="*/ 24 h 165"/>
                <a:gd name="T12" fmla="*/ 164 w 164"/>
                <a:gd name="T13" fmla="*/ 20 h 165"/>
                <a:gd name="T14" fmla="*/ 162 w 164"/>
                <a:gd name="T15" fmla="*/ 16 h 165"/>
                <a:gd name="T16" fmla="*/ 159 w 164"/>
                <a:gd name="T17" fmla="*/ 11 h 165"/>
                <a:gd name="T18" fmla="*/ 157 w 164"/>
                <a:gd name="T19" fmla="*/ 7 h 165"/>
                <a:gd name="T20" fmla="*/ 153 w 164"/>
                <a:gd name="T21" fmla="*/ 5 h 165"/>
                <a:gd name="T22" fmla="*/ 148 w 164"/>
                <a:gd name="T23" fmla="*/ 2 h 165"/>
                <a:gd name="T24" fmla="*/ 145 w 164"/>
                <a:gd name="T25" fmla="*/ 1 h 165"/>
                <a:gd name="T26" fmla="*/ 140 w 164"/>
                <a:gd name="T27" fmla="*/ 0 h 165"/>
                <a:gd name="T28" fmla="*/ 135 w 164"/>
                <a:gd name="T29" fmla="*/ 0 h 165"/>
                <a:gd name="T30" fmla="*/ 129 w 164"/>
                <a:gd name="T31" fmla="*/ 2 h 165"/>
                <a:gd name="T32" fmla="*/ 124 w 164"/>
                <a:gd name="T33" fmla="*/ 5 h 165"/>
                <a:gd name="T34" fmla="*/ 119 w 164"/>
                <a:gd name="T35" fmla="*/ 8 h 165"/>
                <a:gd name="T36" fmla="*/ 119 w 164"/>
                <a:gd name="T37" fmla="*/ 8 h 165"/>
                <a:gd name="T38" fmla="*/ 0 w 164"/>
                <a:gd name="T39" fmla="*/ 123 h 165"/>
                <a:gd name="T40" fmla="*/ 0 w 164"/>
                <a:gd name="T41" fmla="*/ 123 h 165"/>
                <a:gd name="T42" fmla="*/ 42 w 164"/>
                <a:gd name="T43" fmla="*/ 165 h 165"/>
                <a:gd name="T44" fmla="*/ 42 w 164"/>
                <a:gd name="T45" fmla="*/ 165 h 165"/>
                <a:gd name="T46" fmla="*/ 156 w 164"/>
                <a:gd name="T47" fmla="*/ 45 h 165"/>
                <a:gd name="T48" fmla="*/ 156 w 164"/>
                <a:gd name="T49" fmla="*/ 45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4" h="165">
                  <a:moveTo>
                    <a:pt x="156" y="45"/>
                  </a:moveTo>
                  <a:lnTo>
                    <a:pt x="156" y="45"/>
                  </a:lnTo>
                  <a:lnTo>
                    <a:pt x="159" y="41"/>
                  </a:lnTo>
                  <a:lnTo>
                    <a:pt x="162" y="36"/>
                  </a:lnTo>
                  <a:lnTo>
                    <a:pt x="164" y="31"/>
                  </a:lnTo>
                  <a:lnTo>
                    <a:pt x="164" y="24"/>
                  </a:lnTo>
                  <a:lnTo>
                    <a:pt x="164" y="20"/>
                  </a:lnTo>
                  <a:lnTo>
                    <a:pt x="162" y="16"/>
                  </a:lnTo>
                  <a:lnTo>
                    <a:pt x="159" y="11"/>
                  </a:lnTo>
                  <a:lnTo>
                    <a:pt x="157" y="7"/>
                  </a:lnTo>
                  <a:lnTo>
                    <a:pt x="153" y="5"/>
                  </a:lnTo>
                  <a:lnTo>
                    <a:pt x="148" y="2"/>
                  </a:lnTo>
                  <a:lnTo>
                    <a:pt x="145" y="1"/>
                  </a:lnTo>
                  <a:lnTo>
                    <a:pt x="140" y="0"/>
                  </a:lnTo>
                  <a:lnTo>
                    <a:pt x="135" y="0"/>
                  </a:lnTo>
                  <a:lnTo>
                    <a:pt x="129" y="2"/>
                  </a:lnTo>
                  <a:lnTo>
                    <a:pt x="124" y="5"/>
                  </a:lnTo>
                  <a:lnTo>
                    <a:pt x="119" y="8"/>
                  </a:lnTo>
                  <a:lnTo>
                    <a:pt x="119" y="8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42" y="165"/>
                  </a:lnTo>
                  <a:lnTo>
                    <a:pt x="42" y="165"/>
                  </a:lnTo>
                  <a:lnTo>
                    <a:pt x="156" y="45"/>
                  </a:lnTo>
                  <a:lnTo>
                    <a:pt x="156" y="45"/>
                  </a:lnTo>
                  <a:close/>
                </a:path>
              </a:pathLst>
            </a:custGeom>
            <a:solidFill>
              <a:srgbClr val="F99B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sz="1350"/>
            </a:p>
          </p:txBody>
        </p:sp>
        <p:sp>
          <p:nvSpPr>
            <p:cNvPr id="48" name="Freeform 330"/>
            <p:cNvSpPr>
              <a:spLocks/>
            </p:cNvSpPr>
            <p:nvPr/>
          </p:nvSpPr>
          <p:spPr bwMode="auto">
            <a:xfrm>
              <a:off x="4906707" y="3056014"/>
              <a:ext cx="77788" cy="77788"/>
            </a:xfrm>
            <a:custGeom>
              <a:avLst/>
              <a:gdLst>
                <a:gd name="T0" fmla="*/ 49 w 49"/>
                <a:gd name="T1" fmla="*/ 43 h 49"/>
                <a:gd name="T2" fmla="*/ 6 w 49"/>
                <a:gd name="T3" fmla="*/ 0 h 49"/>
                <a:gd name="T4" fmla="*/ 0 w 49"/>
                <a:gd name="T5" fmla="*/ 6 h 49"/>
                <a:gd name="T6" fmla="*/ 43 w 49"/>
                <a:gd name="T7" fmla="*/ 49 h 49"/>
                <a:gd name="T8" fmla="*/ 49 w 49"/>
                <a:gd name="T9" fmla="*/ 4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49" y="43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43" y="49"/>
                  </a:lnTo>
                  <a:lnTo>
                    <a:pt x="49" y="43"/>
                  </a:lnTo>
                  <a:close/>
                </a:path>
              </a:pathLst>
            </a:custGeom>
            <a:solidFill>
              <a:srgbClr val="FEC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sz="1350"/>
            </a:p>
          </p:txBody>
        </p:sp>
        <p:sp>
          <p:nvSpPr>
            <p:cNvPr id="49" name="Freeform 331"/>
            <p:cNvSpPr>
              <a:spLocks/>
            </p:cNvSpPr>
            <p:nvPr/>
          </p:nvSpPr>
          <p:spPr bwMode="auto">
            <a:xfrm>
              <a:off x="5008307" y="2787726"/>
              <a:ext cx="246063" cy="246063"/>
            </a:xfrm>
            <a:custGeom>
              <a:avLst/>
              <a:gdLst>
                <a:gd name="T0" fmla="*/ 52 w 155"/>
                <a:gd name="T1" fmla="*/ 155 h 155"/>
                <a:gd name="T2" fmla="*/ 148 w 155"/>
                <a:gd name="T3" fmla="*/ 59 h 155"/>
                <a:gd name="T4" fmla="*/ 148 w 155"/>
                <a:gd name="T5" fmla="*/ 59 h 155"/>
                <a:gd name="T6" fmla="*/ 150 w 155"/>
                <a:gd name="T7" fmla="*/ 55 h 155"/>
                <a:gd name="T8" fmla="*/ 153 w 155"/>
                <a:gd name="T9" fmla="*/ 50 h 155"/>
                <a:gd name="T10" fmla="*/ 154 w 155"/>
                <a:gd name="T11" fmla="*/ 46 h 155"/>
                <a:gd name="T12" fmla="*/ 155 w 155"/>
                <a:gd name="T13" fmla="*/ 41 h 155"/>
                <a:gd name="T14" fmla="*/ 154 w 155"/>
                <a:gd name="T15" fmla="*/ 36 h 155"/>
                <a:gd name="T16" fmla="*/ 153 w 155"/>
                <a:gd name="T17" fmla="*/ 31 h 155"/>
                <a:gd name="T18" fmla="*/ 150 w 155"/>
                <a:gd name="T19" fmla="*/ 26 h 155"/>
                <a:gd name="T20" fmla="*/ 147 w 155"/>
                <a:gd name="T21" fmla="*/ 21 h 155"/>
                <a:gd name="T22" fmla="*/ 133 w 155"/>
                <a:gd name="T23" fmla="*/ 9 h 155"/>
                <a:gd name="T24" fmla="*/ 133 w 155"/>
                <a:gd name="T25" fmla="*/ 9 h 155"/>
                <a:gd name="T26" fmla="*/ 130 w 155"/>
                <a:gd name="T27" fmla="*/ 5 h 155"/>
                <a:gd name="T28" fmla="*/ 125 w 155"/>
                <a:gd name="T29" fmla="*/ 2 h 155"/>
                <a:gd name="T30" fmla="*/ 120 w 155"/>
                <a:gd name="T31" fmla="*/ 1 h 155"/>
                <a:gd name="T32" fmla="*/ 115 w 155"/>
                <a:gd name="T33" fmla="*/ 0 h 155"/>
                <a:gd name="T34" fmla="*/ 110 w 155"/>
                <a:gd name="T35" fmla="*/ 1 h 155"/>
                <a:gd name="T36" fmla="*/ 105 w 155"/>
                <a:gd name="T37" fmla="*/ 2 h 155"/>
                <a:gd name="T38" fmla="*/ 100 w 155"/>
                <a:gd name="T39" fmla="*/ 5 h 155"/>
                <a:gd name="T40" fmla="*/ 96 w 155"/>
                <a:gd name="T41" fmla="*/ 7 h 155"/>
                <a:gd name="T42" fmla="*/ 0 w 155"/>
                <a:gd name="T43" fmla="*/ 104 h 155"/>
                <a:gd name="T44" fmla="*/ 52 w 155"/>
                <a:gd name="T45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5" h="155">
                  <a:moveTo>
                    <a:pt x="52" y="155"/>
                  </a:moveTo>
                  <a:lnTo>
                    <a:pt x="148" y="59"/>
                  </a:lnTo>
                  <a:lnTo>
                    <a:pt x="148" y="59"/>
                  </a:lnTo>
                  <a:lnTo>
                    <a:pt x="150" y="55"/>
                  </a:lnTo>
                  <a:lnTo>
                    <a:pt x="153" y="50"/>
                  </a:lnTo>
                  <a:lnTo>
                    <a:pt x="154" y="46"/>
                  </a:lnTo>
                  <a:lnTo>
                    <a:pt x="155" y="41"/>
                  </a:lnTo>
                  <a:lnTo>
                    <a:pt x="154" y="36"/>
                  </a:lnTo>
                  <a:lnTo>
                    <a:pt x="153" y="31"/>
                  </a:lnTo>
                  <a:lnTo>
                    <a:pt x="150" y="26"/>
                  </a:lnTo>
                  <a:lnTo>
                    <a:pt x="147" y="21"/>
                  </a:lnTo>
                  <a:lnTo>
                    <a:pt x="133" y="9"/>
                  </a:lnTo>
                  <a:lnTo>
                    <a:pt x="133" y="9"/>
                  </a:lnTo>
                  <a:lnTo>
                    <a:pt x="130" y="5"/>
                  </a:lnTo>
                  <a:lnTo>
                    <a:pt x="125" y="2"/>
                  </a:lnTo>
                  <a:lnTo>
                    <a:pt x="120" y="1"/>
                  </a:lnTo>
                  <a:lnTo>
                    <a:pt x="115" y="0"/>
                  </a:lnTo>
                  <a:lnTo>
                    <a:pt x="110" y="1"/>
                  </a:lnTo>
                  <a:lnTo>
                    <a:pt x="105" y="2"/>
                  </a:lnTo>
                  <a:lnTo>
                    <a:pt x="100" y="5"/>
                  </a:lnTo>
                  <a:lnTo>
                    <a:pt x="96" y="7"/>
                  </a:lnTo>
                  <a:lnTo>
                    <a:pt x="0" y="104"/>
                  </a:lnTo>
                  <a:lnTo>
                    <a:pt x="52" y="155"/>
                  </a:lnTo>
                  <a:close/>
                </a:path>
              </a:pathLst>
            </a:custGeom>
            <a:solidFill>
              <a:srgbClr val="FEC00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sz="1350"/>
            </a:p>
          </p:txBody>
        </p:sp>
        <p:sp>
          <p:nvSpPr>
            <p:cNvPr id="50" name="Freeform 332"/>
            <p:cNvSpPr>
              <a:spLocks/>
            </p:cNvSpPr>
            <p:nvPr/>
          </p:nvSpPr>
          <p:spPr bwMode="auto">
            <a:xfrm>
              <a:off x="5008307" y="2795664"/>
              <a:ext cx="236538" cy="117475"/>
            </a:xfrm>
            <a:custGeom>
              <a:avLst/>
              <a:gdLst>
                <a:gd name="T0" fmla="*/ 148 w 149"/>
                <a:gd name="T1" fmla="*/ 59 h 74"/>
                <a:gd name="T2" fmla="*/ 96 w 149"/>
                <a:gd name="T3" fmla="*/ 7 h 74"/>
                <a:gd name="T4" fmla="*/ 96 w 149"/>
                <a:gd name="T5" fmla="*/ 7 h 74"/>
                <a:gd name="T6" fmla="*/ 93 w 149"/>
                <a:gd name="T7" fmla="*/ 5 h 74"/>
                <a:gd name="T8" fmla="*/ 89 w 149"/>
                <a:gd name="T9" fmla="*/ 2 h 74"/>
                <a:gd name="T10" fmla="*/ 84 w 149"/>
                <a:gd name="T11" fmla="*/ 1 h 74"/>
                <a:gd name="T12" fmla="*/ 80 w 149"/>
                <a:gd name="T13" fmla="*/ 0 h 74"/>
                <a:gd name="T14" fmla="*/ 75 w 149"/>
                <a:gd name="T15" fmla="*/ 0 h 74"/>
                <a:gd name="T16" fmla="*/ 72 w 149"/>
                <a:gd name="T17" fmla="*/ 1 h 74"/>
                <a:gd name="T18" fmla="*/ 68 w 149"/>
                <a:gd name="T19" fmla="*/ 2 h 74"/>
                <a:gd name="T20" fmla="*/ 64 w 149"/>
                <a:gd name="T21" fmla="*/ 6 h 74"/>
                <a:gd name="T22" fmla="*/ 9 w 149"/>
                <a:gd name="T23" fmla="*/ 60 h 74"/>
                <a:gd name="T24" fmla="*/ 9 w 149"/>
                <a:gd name="T25" fmla="*/ 60 h 74"/>
                <a:gd name="T26" fmla="*/ 0 w 149"/>
                <a:gd name="T27" fmla="*/ 70 h 74"/>
                <a:gd name="T28" fmla="*/ 0 w 149"/>
                <a:gd name="T29" fmla="*/ 70 h 74"/>
                <a:gd name="T30" fmla="*/ 6 w 149"/>
                <a:gd name="T31" fmla="*/ 73 h 74"/>
                <a:gd name="T32" fmla="*/ 12 w 149"/>
                <a:gd name="T33" fmla="*/ 74 h 74"/>
                <a:gd name="T34" fmla="*/ 19 w 149"/>
                <a:gd name="T35" fmla="*/ 73 h 74"/>
                <a:gd name="T36" fmla="*/ 22 w 149"/>
                <a:gd name="T37" fmla="*/ 70 h 74"/>
                <a:gd name="T38" fmla="*/ 22 w 149"/>
                <a:gd name="T39" fmla="*/ 70 h 74"/>
                <a:gd name="T40" fmla="*/ 25 w 149"/>
                <a:gd name="T41" fmla="*/ 65 h 74"/>
                <a:gd name="T42" fmla="*/ 25 w 149"/>
                <a:gd name="T43" fmla="*/ 62 h 74"/>
                <a:gd name="T44" fmla="*/ 73 w 149"/>
                <a:gd name="T45" fmla="*/ 13 h 74"/>
                <a:gd name="T46" fmla="*/ 73 w 149"/>
                <a:gd name="T47" fmla="*/ 13 h 74"/>
                <a:gd name="T48" fmla="*/ 76 w 149"/>
                <a:gd name="T49" fmla="*/ 11 h 74"/>
                <a:gd name="T50" fmla="*/ 80 w 149"/>
                <a:gd name="T51" fmla="*/ 11 h 74"/>
                <a:gd name="T52" fmla="*/ 85 w 149"/>
                <a:gd name="T53" fmla="*/ 11 h 74"/>
                <a:gd name="T54" fmla="*/ 90 w 149"/>
                <a:gd name="T55" fmla="*/ 15 h 74"/>
                <a:gd name="T56" fmla="*/ 141 w 149"/>
                <a:gd name="T57" fmla="*/ 66 h 74"/>
                <a:gd name="T58" fmla="*/ 141 w 149"/>
                <a:gd name="T59" fmla="*/ 66 h 74"/>
                <a:gd name="T60" fmla="*/ 143 w 149"/>
                <a:gd name="T61" fmla="*/ 68 h 74"/>
                <a:gd name="T62" fmla="*/ 144 w 149"/>
                <a:gd name="T63" fmla="*/ 68 h 74"/>
                <a:gd name="T64" fmla="*/ 147 w 149"/>
                <a:gd name="T65" fmla="*/ 68 h 74"/>
                <a:gd name="T66" fmla="*/ 148 w 149"/>
                <a:gd name="T67" fmla="*/ 66 h 74"/>
                <a:gd name="T68" fmla="*/ 148 w 149"/>
                <a:gd name="T69" fmla="*/ 66 h 74"/>
                <a:gd name="T70" fmla="*/ 149 w 149"/>
                <a:gd name="T71" fmla="*/ 65 h 74"/>
                <a:gd name="T72" fmla="*/ 149 w 149"/>
                <a:gd name="T73" fmla="*/ 63 h 74"/>
                <a:gd name="T74" fmla="*/ 149 w 149"/>
                <a:gd name="T75" fmla="*/ 60 h 74"/>
                <a:gd name="T76" fmla="*/ 148 w 149"/>
                <a:gd name="T77" fmla="*/ 59 h 74"/>
                <a:gd name="T78" fmla="*/ 148 w 149"/>
                <a:gd name="T79" fmla="*/ 59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9" h="74">
                  <a:moveTo>
                    <a:pt x="148" y="59"/>
                  </a:moveTo>
                  <a:lnTo>
                    <a:pt x="96" y="7"/>
                  </a:lnTo>
                  <a:lnTo>
                    <a:pt x="96" y="7"/>
                  </a:lnTo>
                  <a:lnTo>
                    <a:pt x="93" y="5"/>
                  </a:lnTo>
                  <a:lnTo>
                    <a:pt x="89" y="2"/>
                  </a:lnTo>
                  <a:lnTo>
                    <a:pt x="84" y="1"/>
                  </a:lnTo>
                  <a:lnTo>
                    <a:pt x="80" y="0"/>
                  </a:lnTo>
                  <a:lnTo>
                    <a:pt x="75" y="0"/>
                  </a:lnTo>
                  <a:lnTo>
                    <a:pt x="72" y="1"/>
                  </a:lnTo>
                  <a:lnTo>
                    <a:pt x="68" y="2"/>
                  </a:lnTo>
                  <a:lnTo>
                    <a:pt x="64" y="6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6" y="73"/>
                  </a:lnTo>
                  <a:lnTo>
                    <a:pt x="12" y="74"/>
                  </a:lnTo>
                  <a:lnTo>
                    <a:pt x="19" y="73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5" y="65"/>
                  </a:lnTo>
                  <a:lnTo>
                    <a:pt x="25" y="62"/>
                  </a:lnTo>
                  <a:lnTo>
                    <a:pt x="73" y="13"/>
                  </a:lnTo>
                  <a:lnTo>
                    <a:pt x="73" y="13"/>
                  </a:lnTo>
                  <a:lnTo>
                    <a:pt x="76" y="11"/>
                  </a:lnTo>
                  <a:lnTo>
                    <a:pt x="80" y="11"/>
                  </a:lnTo>
                  <a:lnTo>
                    <a:pt x="85" y="11"/>
                  </a:lnTo>
                  <a:lnTo>
                    <a:pt x="90" y="15"/>
                  </a:lnTo>
                  <a:lnTo>
                    <a:pt x="141" y="66"/>
                  </a:lnTo>
                  <a:lnTo>
                    <a:pt x="141" y="66"/>
                  </a:lnTo>
                  <a:lnTo>
                    <a:pt x="143" y="68"/>
                  </a:lnTo>
                  <a:lnTo>
                    <a:pt x="144" y="68"/>
                  </a:lnTo>
                  <a:lnTo>
                    <a:pt x="147" y="68"/>
                  </a:lnTo>
                  <a:lnTo>
                    <a:pt x="148" y="66"/>
                  </a:lnTo>
                  <a:lnTo>
                    <a:pt x="148" y="66"/>
                  </a:lnTo>
                  <a:lnTo>
                    <a:pt x="149" y="65"/>
                  </a:lnTo>
                  <a:lnTo>
                    <a:pt x="149" y="63"/>
                  </a:lnTo>
                  <a:lnTo>
                    <a:pt x="149" y="60"/>
                  </a:lnTo>
                  <a:lnTo>
                    <a:pt x="148" y="59"/>
                  </a:lnTo>
                  <a:lnTo>
                    <a:pt x="148" y="59"/>
                  </a:lnTo>
                  <a:close/>
                </a:path>
              </a:pathLst>
            </a:custGeom>
            <a:solidFill>
              <a:srgbClr val="F99B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sz="1350"/>
            </a:p>
          </p:txBody>
        </p:sp>
      </p:grpSp>
      <p:grpSp>
        <p:nvGrpSpPr>
          <p:cNvPr id="51" name="Group 720"/>
          <p:cNvGrpSpPr>
            <a:grpSpLocks noChangeAspect="1"/>
          </p:cNvGrpSpPr>
          <p:nvPr userDrawn="1"/>
        </p:nvGrpSpPr>
        <p:grpSpPr>
          <a:xfrm>
            <a:off x="6504024" y="4478938"/>
            <a:ext cx="391913" cy="541725"/>
            <a:chOff x="7000422" y="1793627"/>
            <a:chExt cx="315994" cy="537583"/>
          </a:xfrm>
        </p:grpSpPr>
        <p:sp>
          <p:nvSpPr>
            <p:cNvPr id="52" name="Freeform 401"/>
            <p:cNvSpPr>
              <a:spLocks/>
            </p:cNvSpPr>
            <p:nvPr/>
          </p:nvSpPr>
          <p:spPr bwMode="auto">
            <a:xfrm>
              <a:off x="7000422" y="2115521"/>
              <a:ext cx="315994" cy="215689"/>
            </a:xfrm>
            <a:custGeom>
              <a:avLst/>
              <a:gdLst/>
              <a:ahLst/>
              <a:cxnLst>
                <a:cxn ang="0">
                  <a:pos x="102" y="74"/>
                </a:cxn>
                <a:cxn ang="0">
                  <a:pos x="197" y="139"/>
                </a:cxn>
                <a:cxn ang="0">
                  <a:pos x="204" y="102"/>
                </a:cxn>
                <a:cxn ang="0">
                  <a:pos x="102" y="0"/>
                </a:cxn>
                <a:cxn ang="0">
                  <a:pos x="0" y="102"/>
                </a:cxn>
                <a:cxn ang="0">
                  <a:pos x="7" y="139"/>
                </a:cxn>
                <a:cxn ang="0">
                  <a:pos x="102" y="74"/>
                </a:cxn>
              </a:cxnLst>
              <a:rect l="0" t="0" r="r" b="b"/>
              <a:pathLst>
                <a:path w="204" h="139">
                  <a:moveTo>
                    <a:pt x="102" y="74"/>
                  </a:moveTo>
                  <a:cubicBezTo>
                    <a:pt x="145" y="74"/>
                    <a:pt x="182" y="101"/>
                    <a:pt x="197" y="139"/>
                  </a:cubicBezTo>
                  <a:cubicBezTo>
                    <a:pt x="201" y="127"/>
                    <a:pt x="204" y="115"/>
                    <a:pt x="204" y="102"/>
                  </a:cubicBezTo>
                  <a:cubicBezTo>
                    <a:pt x="204" y="46"/>
                    <a:pt x="158" y="0"/>
                    <a:pt x="102" y="0"/>
                  </a:cubicBezTo>
                  <a:cubicBezTo>
                    <a:pt x="46" y="0"/>
                    <a:pt x="0" y="46"/>
                    <a:pt x="0" y="102"/>
                  </a:cubicBezTo>
                  <a:cubicBezTo>
                    <a:pt x="0" y="115"/>
                    <a:pt x="3" y="127"/>
                    <a:pt x="7" y="139"/>
                  </a:cubicBezTo>
                  <a:cubicBezTo>
                    <a:pt x="22" y="101"/>
                    <a:pt x="59" y="74"/>
                    <a:pt x="102" y="74"/>
                  </a:cubicBezTo>
                  <a:close/>
                </a:path>
              </a:pathLst>
            </a:custGeom>
            <a:solidFill>
              <a:srgbClr val="2C587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sz="1350"/>
            </a:p>
          </p:txBody>
        </p:sp>
        <p:sp>
          <p:nvSpPr>
            <p:cNvPr id="53" name="Freeform 402"/>
            <p:cNvSpPr>
              <a:spLocks/>
            </p:cNvSpPr>
            <p:nvPr/>
          </p:nvSpPr>
          <p:spPr bwMode="auto">
            <a:xfrm>
              <a:off x="7198410" y="2120766"/>
              <a:ext cx="118006" cy="21044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4"/>
                </a:cxn>
                <a:cxn ang="0">
                  <a:pos x="69" y="136"/>
                </a:cxn>
                <a:cxn ang="0">
                  <a:pos x="76" y="99"/>
                </a:cxn>
                <a:cxn ang="0">
                  <a:pos x="0" y="0"/>
                </a:cxn>
              </a:cxnLst>
              <a:rect l="0" t="0" r="r" b="b"/>
              <a:pathLst>
                <a:path w="76" h="136">
                  <a:moveTo>
                    <a:pt x="0" y="0"/>
                  </a:moveTo>
                  <a:cubicBezTo>
                    <a:pt x="0" y="74"/>
                    <a:pt x="0" y="74"/>
                    <a:pt x="0" y="74"/>
                  </a:cubicBezTo>
                  <a:cubicBezTo>
                    <a:pt x="31" y="83"/>
                    <a:pt x="57" y="106"/>
                    <a:pt x="69" y="136"/>
                  </a:cubicBezTo>
                  <a:cubicBezTo>
                    <a:pt x="73" y="124"/>
                    <a:pt x="76" y="112"/>
                    <a:pt x="76" y="99"/>
                  </a:cubicBezTo>
                  <a:cubicBezTo>
                    <a:pt x="76" y="51"/>
                    <a:pt x="43" y="12"/>
                    <a:pt x="0" y="0"/>
                  </a:cubicBezTo>
                  <a:close/>
                </a:path>
              </a:pathLst>
            </a:custGeom>
            <a:solidFill>
              <a:srgbClr val="0E303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sz="1350"/>
            </a:p>
          </p:txBody>
        </p:sp>
        <p:sp>
          <p:nvSpPr>
            <p:cNvPr id="54" name="Freeform 403"/>
            <p:cNvSpPr>
              <a:spLocks/>
            </p:cNvSpPr>
            <p:nvPr/>
          </p:nvSpPr>
          <p:spPr bwMode="auto">
            <a:xfrm>
              <a:off x="7060736" y="1793627"/>
              <a:ext cx="195365" cy="466123"/>
            </a:xfrm>
            <a:custGeom>
              <a:avLst/>
              <a:gdLst/>
              <a:ahLst/>
              <a:cxnLst>
                <a:cxn ang="0">
                  <a:pos x="63" y="295"/>
                </a:cxn>
                <a:cxn ang="0">
                  <a:pos x="99" y="301"/>
                </a:cxn>
                <a:cxn ang="0">
                  <a:pos x="126" y="175"/>
                </a:cxn>
                <a:cxn ang="0">
                  <a:pos x="63" y="0"/>
                </a:cxn>
                <a:cxn ang="0">
                  <a:pos x="0" y="175"/>
                </a:cxn>
                <a:cxn ang="0">
                  <a:pos x="27" y="301"/>
                </a:cxn>
                <a:cxn ang="0">
                  <a:pos x="63" y="295"/>
                </a:cxn>
              </a:cxnLst>
              <a:rect l="0" t="0" r="r" b="b"/>
              <a:pathLst>
                <a:path w="126" h="301">
                  <a:moveTo>
                    <a:pt x="63" y="295"/>
                  </a:moveTo>
                  <a:cubicBezTo>
                    <a:pt x="75" y="295"/>
                    <a:pt x="87" y="297"/>
                    <a:pt x="99" y="301"/>
                  </a:cubicBezTo>
                  <a:cubicBezTo>
                    <a:pt x="116" y="267"/>
                    <a:pt x="126" y="223"/>
                    <a:pt x="126" y="175"/>
                  </a:cubicBezTo>
                  <a:cubicBezTo>
                    <a:pt x="126" y="99"/>
                    <a:pt x="100" y="33"/>
                    <a:pt x="63" y="0"/>
                  </a:cubicBezTo>
                  <a:cubicBezTo>
                    <a:pt x="26" y="33"/>
                    <a:pt x="0" y="99"/>
                    <a:pt x="0" y="175"/>
                  </a:cubicBezTo>
                  <a:cubicBezTo>
                    <a:pt x="0" y="223"/>
                    <a:pt x="10" y="267"/>
                    <a:pt x="27" y="301"/>
                  </a:cubicBezTo>
                  <a:cubicBezTo>
                    <a:pt x="38" y="297"/>
                    <a:pt x="50" y="295"/>
                    <a:pt x="63" y="295"/>
                  </a:cubicBezTo>
                  <a:close/>
                </a:path>
              </a:pathLst>
            </a:custGeom>
            <a:solidFill>
              <a:srgbClr val="FEC0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sz="1350"/>
            </a:p>
          </p:txBody>
        </p:sp>
        <p:sp>
          <p:nvSpPr>
            <p:cNvPr id="55" name="Freeform 404"/>
            <p:cNvSpPr>
              <a:spLocks/>
            </p:cNvSpPr>
            <p:nvPr/>
          </p:nvSpPr>
          <p:spPr bwMode="auto">
            <a:xfrm>
              <a:off x="7158419" y="1793627"/>
              <a:ext cx="97683" cy="4661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0" y="295"/>
                </a:cxn>
                <a:cxn ang="0">
                  <a:pos x="0" y="295"/>
                </a:cxn>
                <a:cxn ang="0">
                  <a:pos x="36" y="301"/>
                </a:cxn>
                <a:cxn ang="0">
                  <a:pos x="63" y="175"/>
                </a:cxn>
                <a:cxn ang="0">
                  <a:pos x="0" y="0"/>
                </a:cxn>
              </a:cxnLst>
              <a:rect l="0" t="0" r="r" b="b"/>
              <a:pathLst>
                <a:path w="63" h="30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295"/>
                    <a:pt x="0" y="295"/>
                    <a:pt x="0" y="295"/>
                  </a:cubicBezTo>
                  <a:cubicBezTo>
                    <a:pt x="0" y="295"/>
                    <a:pt x="0" y="295"/>
                    <a:pt x="0" y="295"/>
                  </a:cubicBezTo>
                  <a:cubicBezTo>
                    <a:pt x="12" y="295"/>
                    <a:pt x="24" y="297"/>
                    <a:pt x="36" y="301"/>
                  </a:cubicBezTo>
                  <a:cubicBezTo>
                    <a:pt x="53" y="267"/>
                    <a:pt x="63" y="223"/>
                    <a:pt x="63" y="175"/>
                  </a:cubicBezTo>
                  <a:cubicBezTo>
                    <a:pt x="63" y="99"/>
                    <a:pt x="37" y="33"/>
                    <a:pt x="0" y="0"/>
                  </a:cubicBezTo>
                  <a:close/>
                </a:path>
              </a:pathLst>
            </a:custGeom>
            <a:solidFill>
              <a:srgbClr val="F99B1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sz="1350"/>
            </a:p>
          </p:txBody>
        </p:sp>
        <p:sp>
          <p:nvSpPr>
            <p:cNvPr id="56" name="Freeform 405"/>
            <p:cNvSpPr>
              <a:spLocks/>
            </p:cNvSpPr>
            <p:nvPr/>
          </p:nvSpPr>
          <p:spPr bwMode="auto">
            <a:xfrm>
              <a:off x="7086960" y="1793627"/>
              <a:ext cx="142263" cy="114728"/>
            </a:xfrm>
            <a:custGeom>
              <a:avLst/>
              <a:gdLst/>
              <a:ahLst/>
              <a:cxnLst>
                <a:cxn ang="0">
                  <a:pos x="46" y="73"/>
                </a:cxn>
                <a:cxn ang="0">
                  <a:pos x="92" y="74"/>
                </a:cxn>
                <a:cxn ang="0">
                  <a:pos x="46" y="0"/>
                </a:cxn>
                <a:cxn ang="0">
                  <a:pos x="0" y="74"/>
                </a:cxn>
                <a:cxn ang="0">
                  <a:pos x="46" y="73"/>
                </a:cxn>
              </a:cxnLst>
              <a:rect l="0" t="0" r="r" b="b"/>
              <a:pathLst>
                <a:path w="92" h="74">
                  <a:moveTo>
                    <a:pt x="46" y="73"/>
                  </a:moveTo>
                  <a:cubicBezTo>
                    <a:pt x="62" y="73"/>
                    <a:pt x="77" y="73"/>
                    <a:pt x="92" y="74"/>
                  </a:cubicBezTo>
                  <a:cubicBezTo>
                    <a:pt x="81" y="43"/>
                    <a:pt x="65" y="17"/>
                    <a:pt x="46" y="0"/>
                  </a:cubicBezTo>
                  <a:cubicBezTo>
                    <a:pt x="27" y="17"/>
                    <a:pt x="11" y="43"/>
                    <a:pt x="0" y="74"/>
                  </a:cubicBezTo>
                  <a:cubicBezTo>
                    <a:pt x="15" y="73"/>
                    <a:pt x="30" y="73"/>
                    <a:pt x="46" y="73"/>
                  </a:cubicBezTo>
                  <a:close/>
                </a:path>
              </a:pathLst>
            </a:custGeom>
            <a:solidFill>
              <a:srgbClr val="2C587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sz="1350"/>
            </a:p>
          </p:txBody>
        </p:sp>
        <p:sp>
          <p:nvSpPr>
            <p:cNvPr id="57" name="Freeform 406"/>
            <p:cNvSpPr>
              <a:spLocks/>
            </p:cNvSpPr>
            <p:nvPr/>
          </p:nvSpPr>
          <p:spPr bwMode="auto">
            <a:xfrm>
              <a:off x="7158419" y="1793627"/>
              <a:ext cx="70804" cy="114728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73"/>
                </a:cxn>
                <a:cxn ang="0">
                  <a:pos x="0" y="73"/>
                </a:cxn>
                <a:cxn ang="0">
                  <a:pos x="46" y="74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w="46" h="74">
                  <a:moveTo>
                    <a:pt x="0" y="1"/>
                  </a:moveTo>
                  <a:cubicBezTo>
                    <a:pt x="0" y="73"/>
                    <a:pt x="0" y="73"/>
                    <a:pt x="0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16" y="73"/>
                    <a:pt x="31" y="73"/>
                    <a:pt x="46" y="74"/>
                  </a:cubicBezTo>
                  <a:cubicBezTo>
                    <a:pt x="35" y="43"/>
                    <a:pt x="19" y="17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0E303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sz="1350"/>
            </a:p>
          </p:txBody>
        </p:sp>
        <p:sp>
          <p:nvSpPr>
            <p:cNvPr id="58" name="Freeform 408"/>
            <p:cNvSpPr>
              <a:spLocks/>
            </p:cNvSpPr>
            <p:nvPr/>
          </p:nvSpPr>
          <p:spPr bwMode="auto">
            <a:xfrm>
              <a:off x="7136784" y="2106343"/>
              <a:ext cx="41958" cy="224867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0" y="72"/>
                </a:cxn>
                <a:cxn ang="0">
                  <a:pos x="14" y="145"/>
                </a:cxn>
                <a:cxn ang="0">
                  <a:pos x="27" y="72"/>
                </a:cxn>
                <a:cxn ang="0">
                  <a:pos x="14" y="0"/>
                </a:cxn>
              </a:cxnLst>
              <a:rect l="0" t="0" r="r" b="b"/>
              <a:pathLst>
                <a:path w="27" h="145">
                  <a:moveTo>
                    <a:pt x="14" y="0"/>
                  </a:moveTo>
                  <a:cubicBezTo>
                    <a:pt x="6" y="13"/>
                    <a:pt x="0" y="41"/>
                    <a:pt x="0" y="72"/>
                  </a:cubicBezTo>
                  <a:cubicBezTo>
                    <a:pt x="0" y="104"/>
                    <a:pt x="6" y="131"/>
                    <a:pt x="14" y="145"/>
                  </a:cubicBezTo>
                  <a:cubicBezTo>
                    <a:pt x="22" y="131"/>
                    <a:pt x="27" y="104"/>
                    <a:pt x="27" y="72"/>
                  </a:cubicBezTo>
                  <a:cubicBezTo>
                    <a:pt x="27" y="41"/>
                    <a:pt x="22" y="13"/>
                    <a:pt x="14" y="0"/>
                  </a:cubicBezTo>
                  <a:close/>
                </a:path>
              </a:pathLst>
            </a:custGeom>
            <a:solidFill>
              <a:srgbClr val="2C587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sz="1350"/>
            </a:p>
          </p:txBody>
        </p:sp>
        <p:sp>
          <p:nvSpPr>
            <p:cNvPr id="59" name="Freeform 409"/>
            <p:cNvSpPr>
              <a:spLocks/>
            </p:cNvSpPr>
            <p:nvPr/>
          </p:nvSpPr>
          <p:spPr bwMode="auto">
            <a:xfrm>
              <a:off x="7158419" y="2106343"/>
              <a:ext cx="20323" cy="22486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44"/>
                </a:cxn>
                <a:cxn ang="0">
                  <a:pos x="0" y="145"/>
                </a:cxn>
                <a:cxn ang="0">
                  <a:pos x="13" y="72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3" h="145">
                  <a:moveTo>
                    <a:pt x="0" y="0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144"/>
                    <a:pt x="0" y="145"/>
                    <a:pt x="0" y="145"/>
                  </a:cubicBezTo>
                  <a:cubicBezTo>
                    <a:pt x="8" y="131"/>
                    <a:pt x="13" y="104"/>
                    <a:pt x="13" y="72"/>
                  </a:cubicBezTo>
                  <a:cubicBezTo>
                    <a:pt x="13" y="41"/>
                    <a:pt x="8" y="13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E303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sz="1350"/>
            </a:p>
          </p:txBody>
        </p:sp>
        <p:sp>
          <p:nvSpPr>
            <p:cNvPr id="60" name="Oval 410"/>
            <p:cNvSpPr>
              <a:spLocks noChangeArrowheads="1"/>
            </p:cNvSpPr>
            <p:nvPr/>
          </p:nvSpPr>
          <p:spPr bwMode="auto">
            <a:xfrm>
              <a:off x="7104005" y="1954902"/>
              <a:ext cx="108172" cy="110139"/>
            </a:xfrm>
            <a:prstGeom prst="ellipse">
              <a:avLst/>
            </a:prstGeom>
            <a:solidFill>
              <a:srgbClr val="174F7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sz="1350"/>
            </a:p>
          </p:txBody>
        </p:sp>
        <p:sp>
          <p:nvSpPr>
            <p:cNvPr id="61" name="Oval 411"/>
            <p:cNvSpPr>
              <a:spLocks noChangeArrowheads="1"/>
            </p:cNvSpPr>
            <p:nvPr/>
          </p:nvSpPr>
          <p:spPr bwMode="auto">
            <a:xfrm>
              <a:off x="7119739" y="1971947"/>
              <a:ext cx="76048" cy="7604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sz="1350"/>
            </a:p>
          </p:txBody>
        </p:sp>
        <p:sp>
          <p:nvSpPr>
            <p:cNvPr id="62" name="Freeform 412"/>
            <p:cNvSpPr>
              <a:spLocks/>
            </p:cNvSpPr>
            <p:nvPr/>
          </p:nvSpPr>
          <p:spPr bwMode="auto">
            <a:xfrm>
              <a:off x="7158419" y="1954902"/>
              <a:ext cx="53758" cy="11013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1"/>
                </a:cxn>
                <a:cxn ang="0">
                  <a:pos x="0" y="11"/>
                </a:cxn>
                <a:cxn ang="0">
                  <a:pos x="24" y="36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0" y="71"/>
                </a:cxn>
                <a:cxn ang="0">
                  <a:pos x="0" y="71"/>
                </a:cxn>
                <a:cxn ang="0">
                  <a:pos x="35" y="36"/>
                </a:cxn>
                <a:cxn ang="0">
                  <a:pos x="0" y="0"/>
                </a:cxn>
              </a:cxnLst>
              <a:rect l="0" t="0" r="r" b="b"/>
              <a:pathLst>
                <a:path w="35" h="7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3" y="11"/>
                    <a:pt x="24" y="22"/>
                    <a:pt x="24" y="36"/>
                  </a:cubicBezTo>
                  <a:cubicBezTo>
                    <a:pt x="24" y="49"/>
                    <a:pt x="13" y="60"/>
                    <a:pt x="0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19" y="71"/>
                    <a:pt x="35" y="55"/>
                    <a:pt x="35" y="36"/>
                  </a:cubicBezTo>
                  <a:cubicBezTo>
                    <a:pt x="35" y="16"/>
                    <a:pt x="19" y="0"/>
                    <a:pt x="0" y="0"/>
                  </a:cubicBezTo>
                  <a:close/>
                </a:path>
              </a:pathLst>
            </a:custGeom>
            <a:solidFill>
              <a:srgbClr val="10375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sz="1350"/>
            </a:p>
          </p:txBody>
        </p:sp>
        <p:sp>
          <p:nvSpPr>
            <p:cNvPr id="63" name="Freeform 413"/>
            <p:cNvSpPr>
              <a:spLocks/>
            </p:cNvSpPr>
            <p:nvPr/>
          </p:nvSpPr>
          <p:spPr bwMode="auto">
            <a:xfrm>
              <a:off x="7158419" y="1971947"/>
              <a:ext cx="37369" cy="76048"/>
            </a:xfrm>
            <a:custGeom>
              <a:avLst/>
              <a:gdLst/>
              <a:ahLst/>
              <a:cxnLst>
                <a:cxn ang="0">
                  <a:pos x="24" y="25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24" y="25"/>
                </a:cxn>
              </a:cxnLst>
              <a:rect l="0" t="0" r="r" b="b"/>
              <a:pathLst>
                <a:path w="24" h="49">
                  <a:moveTo>
                    <a:pt x="24" y="25"/>
                  </a:moveTo>
                  <a:cubicBezTo>
                    <a:pt x="24" y="11"/>
                    <a:pt x="13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3" y="49"/>
                    <a:pt x="24" y="38"/>
                    <a:pt x="24" y="25"/>
                  </a:cubicBezTo>
                  <a:close/>
                </a:path>
              </a:pathLst>
            </a:custGeom>
            <a:solidFill>
              <a:srgbClr val="D1ECF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de-DE" sz="1350"/>
            </a:p>
          </p:txBody>
        </p:sp>
      </p:grpSp>
      <p:pic>
        <p:nvPicPr>
          <p:cNvPr id="64" name="Grafik 6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0919" y="-74544"/>
            <a:ext cx="7553081" cy="5292587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5677" y="470205"/>
            <a:ext cx="828583" cy="270000"/>
          </a:xfrm>
          <a:prstGeom prst="rect">
            <a:avLst/>
          </a:prstGeom>
        </p:spPr>
      </p:pic>
      <p:sp>
        <p:nvSpPr>
          <p:cNvPr id="66" name="Title 1"/>
          <p:cNvSpPr txBox="1">
            <a:spLocks/>
          </p:cNvSpPr>
          <p:nvPr userDrawn="1"/>
        </p:nvSpPr>
        <p:spPr>
          <a:xfrm>
            <a:off x="1977622" y="1011992"/>
            <a:ext cx="6382398" cy="1175500"/>
          </a:xfrm>
          <a:prstGeom prst="rect">
            <a:avLst/>
          </a:prstGeom>
          <a:solidFill>
            <a:schemeClr val="tx1">
              <a:lumMod val="75000"/>
              <a:lumOff val="25000"/>
              <a:alpha val="57000"/>
            </a:schemeClr>
          </a:solidFill>
        </p:spPr>
        <p:txBody>
          <a:bodyPr vert="horz" wrap="square" lIns="54000" tIns="54000" rIns="54000" bIns="54000" rtlCol="0" anchor="t" anchorCtr="0">
            <a:spAutoFit/>
          </a:bodyPr>
          <a:lstStyle>
            <a:lvl1pPr eaLnBrk="1" hangingPunct="1">
              <a:lnSpc>
                <a:spcPct val="70000"/>
              </a:lnSpc>
              <a:defRPr lang="en-US" sz="8820" b="0" i="0">
                <a:solidFill>
                  <a:srgbClr val="FFFFFF"/>
                </a:solidFill>
                <a:latin typeface="KPMG Extralight"/>
                <a:cs typeface="KPMG Extralight"/>
              </a:defRPr>
            </a:lvl1pPr>
          </a:lstStyle>
          <a:p>
            <a:pPr algn="l" defTabSz="685800"/>
            <a:r>
              <a:rPr lang="de-DE" sz="4950" kern="0"/>
              <a:t>Einführung eines Lieferantenmanagements</a:t>
            </a:r>
          </a:p>
        </p:txBody>
      </p:sp>
    </p:spTree>
    <p:extLst>
      <p:ext uri="{BB962C8B-B14F-4D97-AF65-F5344CB8AC3E}">
        <p14:creationId xmlns:p14="http://schemas.microsoft.com/office/powerpoint/2010/main" val="1457822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3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2 - vertikal+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5376886"/>
              </p:ext>
            </p:extLst>
          </p:nvPr>
        </p:nvGraphicFramePr>
        <p:xfrm>
          <a:off x="1333" y="1051"/>
          <a:ext cx="1330" cy="1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0" imgH="531" progId="TCLayout.ActiveDocument.1">
                  <p:embed/>
                </p:oleObj>
              </mc:Choice>
              <mc:Fallback>
                <p:oleObj name="think-cell Folie" r:id="rId3" imgW="530" imgH="53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33" y="1051"/>
                        <a:ext cx="1330" cy="1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3"/>
          <p:cNvSpPr/>
          <p:nvPr userDrawn="1"/>
        </p:nvSpPr>
        <p:spPr bwMode="white">
          <a:xfrm>
            <a:off x="0" y="-74544"/>
            <a:ext cx="9144000" cy="5292588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91DA"/>
          </a:solidFill>
        </p:spPr>
        <p:txBody>
          <a:bodyPr wrap="square" lIns="0" tIns="0" rIns="0" bIns="0" rtlCol="0">
            <a:noAutofit/>
          </a:bodyPr>
          <a:lstStyle/>
          <a:p>
            <a:pPr eaLnBrk="1"/>
            <a:endParaRPr lang="de-DE" sz="1238">
              <a:latin typeface="Univers for KPMG Light" panose="020B0403020202020204" pitchFamily="34" charset="0"/>
            </a:endParaRPr>
          </a:p>
        </p:txBody>
      </p:sp>
      <p:sp>
        <p:nvSpPr>
          <p:cNvPr id="3" name="object 3"/>
          <p:cNvSpPr/>
          <p:nvPr userDrawn="1"/>
        </p:nvSpPr>
        <p:spPr bwMode="hidden">
          <a:xfrm>
            <a:off x="0" y="-74544"/>
            <a:ext cx="1587731" cy="5292588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pPr eaLnBrk="1"/>
            <a:endParaRPr lang="de-DE" sz="1232">
              <a:latin typeface="Univers for KPMG Light" panose="020B0403020202020204" pitchFamily="34" charset="0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045677" y="3651870"/>
            <a:ext cx="6314343" cy="101796"/>
          </a:xfrm>
          <a:prstGeom prst="rect">
            <a:avLst/>
          </a:prstGeom>
        </p:spPr>
        <p:txBody>
          <a:bodyPr vert="horz" wrap="square" lIns="36000">
            <a:spAutoFit/>
          </a:bodyPr>
          <a:lstStyle>
            <a:lvl1pPr>
              <a:spcBef>
                <a:spcPts val="204"/>
              </a:spcBef>
              <a:spcAft>
                <a:spcPts val="0"/>
              </a:spcAft>
              <a:defRPr sz="662" b="1">
                <a:solidFill>
                  <a:srgbClr val="FFFFFF"/>
                </a:solidFill>
                <a:latin typeface="+mn-lt"/>
                <a:cs typeface="Univers for KPMG Light" panose="020B0403020202020204" pitchFamily="34" charset="0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err="1"/>
              <a:t>Subtitle</a:t>
            </a:r>
            <a:endParaRPr lang="de-DE"/>
          </a:p>
        </p:txBody>
      </p:sp>
      <p:sp>
        <p:nvSpPr>
          <p:cNvPr id="66" name="Title 1"/>
          <p:cNvSpPr txBox="1">
            <a:spLocks/>
          </p:cNvSpPr>
          <p:nvPr userDrawn="1"/>
        </p:nvSpPr>
        <p:spPr>
          <a:xfrm>
            <a:off x="1949601" y="1005576"/>
            <a:ext cx="6382398" cy="1175500"/>
          </a:xfrm>
          <a:prstGeom prst="rect">
            <a:avLst/>
          </a:prstGeom>
          <a:solidFill>
            <a:schemeClr val="bg1">
              <a:lumMod val="75000"/>
              <a:alpha val="57000"/>
            </a:schemeClr>
          </a:solidFill>
        </p:spPr>
        <p:txBody>
          <a:bodyPr vert="horz" wrap="square" lIns="54000" tIns="54000" rIns="54000" bIns="54000" rtlCol="0" anchor="t" anchorCtr="0">
            <a:spAutoFit/>
          </a:bodyPr>
          <a:lstStyle>
            <a:lvl1pPr eaLnBrk="1" hangingPunct="1">
              <a:lnSpc>
                <a:spcPct val="70000"/>
              </a:lnSpc>
              <a:defRPr lang="en-US" sz="8820" b="0" i="0">
                <a:solidFill>
                  <a:srgbClr val="FFFFFF"/>
                </a:solidFill>
                <a:latin typeface="KPMG Extralight"/>
                <a:cs typeface="KPMG Extralight"/>
              </a:defRPr>
            </a:lvl1pPr>
          </a:lstStyle>
          <a:p>
            <a:pPr defTabSz="685800"/>
            <a:r>
              <a:rPr lang="de-DE" sz="4950" kern="0"/>
              <a:t>Einführung eines Lieferantenmanagements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5677" y="470205"/>
            <a:ext cx="828583" cy="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0163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3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3715200"/>
            <a:ext cx="9144000" cy="14283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3" name="Bildplatzhalter 5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3715200"/>
          </a:xfrm>
          <a:custGeom>
            <a:avLst/>
            <a:gdLst>
              <a:gd name="connsiteX0" fmla="*/ 0 w 9144000"/>
              <a:gd name="connsiteY0" fmla="*/ 0 h 3715200"/>
              <a:gd name="connsiteX1" fmla="*/ 9144000 w 9144000"/>
              <a:gd name="connsiteY1" fmla="*/ 0 h 3715200"/>
              <a:gd name="connsiteX2" fmla="*/ 9144000 w 9144000"/>
              <a:gd name="connsiteY2" fmla="*/ 3715200 h 3715200"/>
              <a:gd name="connsiteX3" fmla="*/ 5935980 w 9144000"/>
              <a:gd name="connsiteY3" fmla="*/ 3715200 h 3715200"/>
              <a:gd name="connsiteX4" fmla="*/ 5164968 w 9144000"/>
              <a:gd name="connsiteY4" fmla="*/ 3715200 h 3715200"/>
              <a:gd name="connsiteX5" fmla="*/ 1624358 w 9144000"/>
              <a:gd name="connsiteY5" fmla="*/ 3715200 h 3715200"/>
              <a:gd name="connsiteX6" fmla="*/ 1624358 w 9144000"/>
              <a:gd name="connsiteY6" fmla="*/ 3715200 h 3715200"/>
              <a:gd name="connsiteX7" fmla="*/ 1784351 w 9144000"/>
              <a:gd name="connsiteY7" fmla="*/ 3480152 h 3715200"/>
              <a:gd name="connsiteX8" fmla="*/ 1152128 w 9144000"/>
              <a:gd name="connsiteY8" fmla="*/ 3480152 h 3715200"/>
              <a:gd name="connsiteX9" fmla="*/ 1060429 w 9144000"/>
              <a:gd name="connsiteY9" fmla="*/ 3480152 h 3715200"/>
              <a:gd name="connsiteX10" fmla="*/ 1004494 w 9144000"/>
              <a:gd name="connsiteY10" fmla="*/ 3480152 h 3715200"/>
              <a:gd name="connsiteX11" fmla="*/ 80844 w 9144000"/>
              <a:gd name="connsiteY11" fmla="*/ 3480152 h 3715200"/>
              <a:gd name="connsiteX12" fmla="*/ 0 w 9144000"/>
              <a:gd name="connsiteY12" fmla="*/ 3480152 h 3715200"/>
              <a:gd name="connsiteX13" fmla="*/ 0 w 9144000"/>
              <a:gd name="connsiteY13" fmla="*/ 3473421 h 3715200"/>
              <a:gd name="connsiteX14" fmla="*/ 0 w 9144000"/>
              <a:gd name="connsiteY14" fmla="*/ 2689257 h 3715200"/>
              <a:gd name="connsiteX15" fmla="*/ 0 w 9144000"/>
              <a:gd name="connsiteY15" fmla="*/ 225978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44000" h="3715200">
                <a:moveTo>
                  <a:pt x="0" y="0"/>
                </a:moveTo>
                <a:lnTo>
                  <a:pt x="9144000" y="0"/>
                </a:lnTo>
                <a:lnTo>
                  <a:pt x="9144000" y="3715200"/>
                </a:lnTo>
                <a:lnTo>
                  <a:pt x="5935980" y="3715200"/>
                </a:lnTo>
                <a:lnTo>
                  <a:pt x="5164968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2689257"/>
                </a:lnTo>
                <a:lnTo>
                  <a:pt x="0" y="225978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2000" tIns="72000" rIns="252000" bIns="216000" anchor="b">
            <a:noAutofit/>
          </a:bodyPr>
          <a:lstStyle>
            <a:lvl1pPr algn="r">
              <a:spcBef>
                <a:spcPts val="0"/>
              </a:spcBef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Um das Hintergrundbild einzufügen, markieren Sie bitte den grauen</a:t>
            </a:r>
            <a:br>
              <a:rPr lang="de-DE"/>
            </a:br>
            <a:r>
              <a:rPr lang="de-DE"/>
              <a:t>Platzhalter und wählen dann ein Bild über den Reiter „Einfügen“, „Grafik“ </a:t>
            </a:r>
            <a:br>
              <a:rPr lang="de-DE"/>
            </a:br>
            <a:r>
              <a:rPr lang="de-DE"/>
              <a:t>aus. </a:t>
            </a:r>
            <a:r>
              <a:rPr lang="de-DE" noProof="0"/>
              <a:t>Bitte nach Einfügen des Bildes das Bild in den Hintergrund legen.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58775" y="4691340"/>
            <a:ext cx="4465638" cy="184666"/>
          </a:xfrm>
        </p:spPr>
        <p:txBody>
          <a:bodyPr/>
          <a:lstStyle>
            <a:lvl1pPr>
              <a:spcBef>
                <a:spcPts val="0"/>
              </a:spcBef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Datum  |  Ort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2" name="Freihandform 11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51" name="Textplatzhalter 5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0"/>
            <a:ext cx="5961600" cy="3715200"/>
          </a:xfrm>
          <a:custGeom>
            <a:avLst/>
            <a:gdLst>
              <a:gd name="connsiteX0" fmla="*/ 0 w 5961600"/>
              <a:gd name="connsiteY0" fmla="*/ 0 h 3715200"/>
              <a:gd name="connsiteX1" fmla="*/ 5961600 w 5961600"/>
              <a:gd name="connsiteY1" fmla="*/ 0 h 3715200"/>
              <a:gd name="connsiteX2" fmla="*/ 3805736 w 5961600"/>
              <a:gd name="connsiteY2" fmla="*/ 3170662 h 3715200"/>
              <a:gd name="connsiteX3" fmla="*/ 2852125 w 5961600"/>
              <a:gd name="connsiteY3" fmla="*/ 3715200 h 3715200"/>
              <a:gd name="connsiteX4" fmla="*/ 2346960 w 5961600"/>
              <a:gd name="connsiteY4" fmla="*/ 3715200 h 3715200"/>
              <a:gd name="connsiteX5" fmla="*/ 2301240 w 5961600"/>
              <a:gd name="connsiteY5" fmla="*/ 3715200 h 3715200"/>
              <a:gd name="connsiteX6" fmla="*/ 1624358 w 5961600"/>
              <a:gd name="connsiteY6" fmla="*/ 3715200 h 3715200"/>
              <a:gd name="connsiteX7" fmla="*/ 1624358 w 5961600"/>
              <a:gd name="connsiteY7" fmla="*/ 3715200 h 3715200"/>
              <a:gd name="connsiteX8" fmla="*/ 1784351 w 5961600"/>
              <a:gd name="connsiteY8" fmla="*/ 3480152 h 3715200"/>
              <a:gd name="connsiteX9" fmla="*/ 1152128 w 5961600"/>
              <a:gd name="connsiteY9" fmla="*/ 3480152 h 3715200"/>
              <a:gd name="connsiteX10" fmla="*/ 1060429 w 5961600"/>
              <a:gd name="connsiteY10" fmla="*/ 3480152 h 3715200"/>
              <a:gd name="connsiteX11" fmla="*/ 1004494 w 5961600"/>
              <a:gd name="connsiteY11" fmla="*/ 3480152 h 3715200"/>
              <a:gd name="connsiteX12" fmla="*/ 80844 w 5961600"/>
              <a:gd name="connsiteY12" fmla="*/ 3480152 h 3715200"/>
              <a:gd name="connsiteX13" fmla="*/ 0 w 5961600"/>
              <a:gd name="connsiteY13" fmla="*/ 3480152 h 3715200"/>
              <a:gd name="connsiteX14" fmla="*/ 0 w 5961600"/>
              <a:gd name="connsiteY14" fmla="*/ 3473421 h 3715200"/>
              <a:gd name="connsiteX15" fmla="*/ 0 w 5961600"/>
              <a:gd name="connsiteY15" fmla="*/ 3428384 h 3715200"/>
              <a:gd name="connsiteX16" fmla="*/ 0 w 5961600"/>
              <a:gd name="connsiteY16" fmla="*/ 292272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961600" h="3715200">
                <a:moveTo>
                  <a:pt x="0" y="0"/>
                </a:moveTo>
                <a:lnTo>
                  <a:pt x="5961600" y="0"/>
                </a:lnTo>
                <a:lnTo>
                  <a:pt x="3805736" y="3170662"/>
                </a:lnTo>
                <a:cubicBezTo>
                  <a:pt x="3551366" y="3526776"/>
                  <a:pt x="3192220" y="3711464"/>
                  <a:pt x="2852125" y="3715200"/>
                </a:cubicBezTo>
                <a:lnTo>
                  <a:pt x="2346960" y="3715200"/>
                </a:lnTo>
                <a:lnTo>
                  <a:pt x="2301240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3428384"/>
                </a:lnTo>
                <a:lnTo>
                  <a:pt x="0" y="2922720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</p:spPr>
        <p:txBody>
          <a:bodyPr wrap="square" lIns="360000" tIns="518400" rIns="115200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200" b="0" kern="1200" cap="all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59532" y="2067694"/>
            <a:ext cx="3456384" cy="923330"/>
          </a:xfrm>
        </p:spPr>
        <p:txBody>
          <a:bodyPr/>
          <a:lstStyle>
            <a:lvl1pPr marL="0" indent="0" algn="l">
              <a:buNone/>
              <a:defRPr sz="2000" b="0" cap="none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54" name="Freihandform 53"/>
          <p:cNvSpPr>
            <a:spLocks noChangeAspect="1"/>
          </p:cNvSpPr>
          <p:nvPr userDrawn="1"/>
        </p:nvSpPr>
        <p:spPr bwMode="gray">
          <a:xfrm>
            <a:off x="0" y="3480152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713810" y="3525428"/>
            <a:ext cx="4172056" cy="195814"/>
          </a:xfrm>
        </p:spPr>
        <p:txBody>
          <a:bodyPr tIns="36000" rIns="0" bIns="36000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Quellenangabe Fotonachweis</a:t>
            </a:r>
            <a:endParaRPr lang="en-GB"/>
          </a:p>
        </p:txBody>
      </p:sp>
      <p:sp>
        <p:nvSpPr>
          <p:cNvPr id="28" name="AutoShape 6">
            <a:extLst>
              <a:ext uri="{FF2B5EF4-FFF2-40B4-BE49-F238E27FC236}">
                <a16:creationId xmlns:a16="http://schemas.microsoft.com/office/drawing/2014/main" id="{53D7E206-8E87-DBEF-C2EC-BE0407666238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967DBA9-6078-BB20-067E-4CEE33EB25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81291" y="4715558"/>
            <a:ext cx="3536828" cy="403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745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nur_Hamburg_Logo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Bildplatzhalter 5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3715200"/>
          </a:xfrm>
          <a:custGeom>
            <a:avLst/>
            <a:gdLst>
              <a:gd name="connsiteX0" fmla="*/ 0 w 9144000"/>
              <a:gd name="connsiteY0" fmla="*/ 0 h 3715200"/>
              <a:gd name="connsiteX1" fmla="*/ 9144000 w 9144000"/>
              <a:gd name="connsiteY1" fmla="*/ 0 h 3715200"/>
              <a:gd name="connsiteX2" fmla="*/ 9144000 w 9144000"/>
              <a:gd name="connsiteY2" fmla="*/ 3715200 h 3715200"/>
              <a:gd name="connsiteX3" fmla="*/ 5935980 w 9144000"/>
              <a:gd name="connsiteY3" fmla="*/ 3715200 h 3715200"/>
              <a:gd name="connsiteX4" fmla="*/ 5164968 w 9144000"/>
              <a:gd name="connsiteY4" fmla="*/ 3715200 h 3715200"/>
              <a:gd name="connsiteX5" fmla="*/ 1624358 w 9144000"/>
              <a:gd name="connsiteY5" fmla="*/ 3715200 h 3715200"/>
              <a:gd name="connsiteX6" fmla="*/ 1624358 w 9144000"/>
              <a:gd name="connsiteY6" fmla="*/ 3715200 h 3715200"/>
              <a:gd name="connsiteX7" fmla="*/ 1784351 w 9144000"/>
              <a:gd name="connsiteY7" fmla="*/ 3480152 h 3715200"/>
              <a:gd name="connsiteX8" fmla="*/ 1152128 w 9144000"/>
              <a:gd name="connsiteY8" fmla="*/ 3480152 h 3715200"/>
              <a:gd name="connsiteX9" fmla="*/ 1060429 w 9144000"/>
              <a:gd name="connsiteY9" fmla="*/ 3480152 h 3715200"/>
              <a:gd name="connsiteX10" fmla="*/ 1004494 w 9144000"/>
              <a:gd name="connsiteY10" fmla="*/ 3480152 h 3715200"/>
              <a:gd name="connsiteX11" fmla="*/ 80844 w 9144000"/>
              <a:gd name="connsiteY11" fmla="*/ 3480152 h 3715200"/>
              <a:gd name="connsiteX12" fmla="*/ 0 w 9144000"/>
              <a:gd name="connsiteY12" fmla="*/ 3480152 h 3715200"/>
              <a:gd name="connsiteX13" fmla="*/ 0 w 9144000"/>
              <a:gd name="connsiteY13" fmla="*/ 3473421 h 3715200"/>
              <a:gd name="connsiteX14" fmla="*/ 0 w 9144000"/>
              <a:gd name="connsiteY14" fmla="*/ 2689257 h 3715200"/>
              <a:gd name="connsiteX15" fmla="*/ 0 w 9144000"/>
              <a:gd name="connsiteY15" fmla="*/ 225978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44000" h="3715200">
                <a:moveTo>
                  <a:pt x="0" y="0"/>
                </a:moveTo>
                <a:lnTo>
                  <a:pt x="9144000" y="0"/>
                </a:lnTo>
                <a:lnTo>
                  <a:pt x="9144000" y="3715200"/>
                </a:lnTo>
                <a:lnTo>
                  <a:pt x="5935980" y="3715200"/>
                </a:lnTo>
                <a:lnTo>
                  <a:pt x="5164968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2689257"/>
                </a:lnTo>
                <a:lnTo>
                  <a:pt x="0" y="225978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2000" tIns="72000" rIns="252000" bIns="216000" anchor="b">
            <a:noAutofit/>
          </a:bodyPr>
          <a:lstStyle>
            <a:lvl1pPr algn="r">
              <a:spcBef>
                <a:spcPts val="0"/>
              </a:spcBef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Um das Hintergrundbild einzufügen, markieren Sie </a:t>
            </a:r>
            <a:br>
              <a:rPr lang="de-DE"/>
            </a:br>
            <a:r>
              <a:rPr lang="de-DE"/>
              <a:t>bitte den grauen Platzhalter und wählen dann ein Bild </a:t>
            </a:r>
            <a:br>
              <a:rPr lang="de-DE"/>
            </a:br>
            <a:r>
              <a:rPr lang="de-DE"/>
              <a:t>über den Reiter „Einfügen“, „Grafik“ aus. </a:t>
            </a:r>
            <a:r>
              <a:rPr lang="de-DE" noProof="0"/>
              <a:t>Bitte nach </a:t>
            </a:r>
            <a:br>
              <a:rPr lang="de-DE" noProof="0"/>
            </a:br>
            <a:r>
              <a:rPr lang="de-DE" noProof="0"/>
              <a:t>Einfügen des Bildes das Bild in den Hintergrund legen.</a:t>
            </a:r>
            <a:endParaRPr lang="de-DE"/>
          </a:p>
        </p:txBody>
      </p:sp>
      <p:sp>
        <p:nvSpPr>
          <p:cNvPr id="29" name="Rechteck 28"/>
          <p:cNvSpPr/>
          <p:nvPr userDrawn="1"/>
        </p:nvSpPr>
        <p:spPr>
          <a:xfrm>
            <a:off x="0" y="3715200"/>
            <a:ext cx="9144000" cy="14283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Freihandform 29"/>
          <p:cNvSpPr>
            <a:spLocks noChangeAspect="1"/>
          </p:cNvSpPr>
          <p:nvPr userDrawn="1"/>
        </p:nvSpPr>
        <p:spPr bwMode="gray">
          <a:xfrm>
            <a:off x="0" y="3480152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59531" y="1289606"/>
            <a:ext cx="7428619" cy="637849"/>
          </a:xfrm>
          <a:solidFill>
            <a:schemeClr val="bg1"/>
          </a:solidFill>
        </p:spPr>
        <p:txBody>
          <a:bodyPr wrap="none" lIns="72000" tIns="72000" rIns="72000" bIns="72000"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3200" baseline="0"/>
            </a:lvl1pPr>
          </a:lstStyle>
          <a:p>
            <a:r>
              <a:rPr lang="de-DE"/>
              <a:t>Titel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59532" y="2821553"/>
            <a:ext cx="4021467" cy="453183"/>
          </a:xfrm>
          <a:solidFill>
            <a:schemeClr val="bg1"/>
          </a:solidFill>
        </p:spPr>
        <p:txBody>
          <a:bodyPr wrap="none" lIns="72000" tIns="72000" rIns="72000" bIns="7200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cap="none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Untertitel durch klicken bearbeiten</a:t>
            </a:r>
            <a:endParaRPr lang="en-US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4691340"/>
            <a:ext cx="4465638" cy="184666"/>
          </a:xfrm>
        </p:spPr>
        <p:txBody>
          <a:bodyPr/>
          <a:lstStyle>
            <a:lvl1pPr>
              <a:spcBef>
                <a:spcPts val="0"/>
              </a:spcBef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Datum  |  Ort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2" name="Freihandform 11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1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713810" y="3525428"/>
            <a:ext cx="4172056" cy="195814"/>
          </a:xfrm>
        </p:spPr>
        <p:txBody>
          <a:bodyPr tIns="36000" rIns="0" bIns="36000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Quellenangabe Fotonachweis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59531" y="523632"/>
            <a:ext cx="7428619" cy="637849"/>
          </a:xfrm>
          <a:solidFill>
            <a:schemeClr val="bg1"/>
          </a:solidFill>
        </p:spPr>
        <p:txBody>
          <a:bodyPr wrap="none" lIns="72000" tIns="72000" rIns="72000" bIns="72000"/>
          <a:lstStyle>
            <a:lvl1pPr>
              <a:defRPr sz="3200" b="0" cap="all" baseline="0"/>
            </a:lvl1pPr>
          </a:lstStyle>
          <a:p>
            <a:pPr lvl="0"/>
            <a:r>
              <a:rPr lang="de-DE"/>
              <a:t>Titel durch Klicken bearbeiten</a:t>
            </a:r>
            <a:endParaRPr lang="en-GB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59531" y="2055580"/>
            <a:ext cx="7428619" cy="637849"/>
          </a:xfrm>
          <a:solidFill>
            <a:schemeClr val="bg1"/>
          </a:solidFill>
        </p:spPr>
        <p:txBody>
          <a:bodyPr wrap="none" lIns="72000" tIns="72000" rIns="72000" bIns="72000"/>
          <a:lstStyle>
            <a:lvl1pPr>
              <a:defRPr sz="3200" b="0" cap="all" baseline="0"/>
            </a:lvl1pPr>
          </a:lstStyle>
          <a:p>
            <a:pPr lvl="0"/>
            <a:r>
              <a:rPr lang="de-DE"/>
              <a:t>Titel durch Klicken bearbeiten</a:t>
            </a:r>
            <a:endParaRPr lang="en-GB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CC0033B-4037-7383-D111-9D60357755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7453" y="4669656"/>
            <a:ext cx="1099800" cy="31456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B2A9E7F-FA7F-B15A-BFA2-1F10FDFAAAF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4930" y="4644194"/>
            <a:ext cx="820827" cy="31013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ADB6C025-8DE9-797D-5CCD-F7790A87BEF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5148677" y="4650975"/>
            <a:ext cx="1345856" cy="364309"/>
          </a:xfrm>
          <a:prstGeom prst="rect">
            <a:avLst/>
          </a:prstGeom>
        </p:spPr>
      </p:pic>
      <p:pic>
        <p:nvPicPr>
          <p:cNvPr id="9" name="Grafik 8" descr="Ein Bild, das Text, Schrift, Logo, Symbol enthält.&#10;&#10;Automatisch generierte Beschreibung">
            <a:extLst>
              <a:ext uri="{FF2B5EF4-FFF2-40B4-BE49-F238E27FC236}">
                <a16:creationId xmlns:a16="http://schemas.microsoft.com/office/drawing/2014/main" id="{4F7CD196-5C62-C6AD-064B-B2EEBCD934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838" t="10962" r="13771" b="10540"/>
          <a:stretch/>
        </p:blipFill>
        <p:spPr>
          <a:xfrm>
            <a:off x="8220173" y="4648113"/>
            <a:ext cx="778053" cy="36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1432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3996188"/>
            <a:ext cx="9144000" cy="11473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979612" y="206438"/>
            <a:ext cx="6906253" cy="400110"/>
          </a:xfrm>
        </p:spPr>
        <p:txBody>
          <a:bodyPr/>
          <a:lstStyle>
            <a:lvl1pPr>
              <a:spcBef>
                <a:spcPts val="0"/>
              </a:spcBef>
              <a:defRPr sz="26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979712" y="843558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1</a:t>
            </a:r>
            <a:endParaRPr lang="en-US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979712" y="1304409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2</a:t>
            </a:r>
            <a:endParaRPr lang="en-US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979712" y="1765260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3</a:t>
            </a:r>
            <a:endParaRPr lang="en-US"/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979712" y="2226111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4</a:t>
            </a:r>
            <a:endParaRPr lang="en-US"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979712" y="2686962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5</a:t>
            </a:r>
            <a:endParaRPr lang="en-US"/>
          </a:p>
        </p:txBody>
      </p:sp>
      <p:sp>
        <p:nvSpPr>
          <p:cNvPr id="17" name="Textplatzhalter 1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979712" y="3147814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6</a:t>
            </a:r>
            <a:endParaRPr lang="en-US"/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447764" y="900448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447764" y="1361299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447764" y="1822150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2447764" y="2283001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2447764" y="2743852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2447764" y="3204704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grpSp>
        <p:nvGrpSpPr>
          <p:cNvPr id="24" name="Gruppieren 23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25" name="Freihandform 24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7" name="Gruppieren 26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28" name="Freihandform 27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" name="Freihandform 28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Freihandform 29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Freihandform 30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2" name="Gruppieren 31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33" name="Freihandform 32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Freihandform 33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5" name="Gruppieren 34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36" name="Freihandform 35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7" name="Freihandform 36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8" name="Freihandform 37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9" name="Freihandform 38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40" name="Freihandform 39"/>
          <p:cNvSpPr>
            <a:spLocks noChangeAspect="1"/>
          </p:cNvSpPr>
          <p:nvPr userDrawn="1"/>
        </p:nvSpPr>
        <p:spPr bwMode="gray">
          <a:xfrm>
            <a:off x="0" y="3746837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C47E6AD9-6620-4B61-2CD6-3C619C26AE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7453" y="4669656"/>
            <a:ext cx="1099800" cy="314561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D9BB9A8E-E495-9F15-2772-D59A7F00342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4930" y="4644194"/>
            <a:ext cx="820827" cy="31013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4DEB82C2-7647-7774-1F92-89C1480F7A6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5148677" y="4650975"/>
            <a:ext cx="1345856" cy="364309"/>
          </a:xfrm>
          <a:prstGeom prst="rect">
            <a:avLst/>
          </a:prstGeom>
        </p:spPr>
      </p:pic>
      <p:pic>
        <p:nvPicPr>
          <p:cNvPr id="5" name="Grafik 4" descr="Ein Bild, das Text, Schrift, Logo, Symbol enthält.&#10;&#10;Automatisch generierte Beschreibung">
            <a:extLst>
              <a:ext uri="{FF2B5EF4-FFF2-40B4-BE49-F238E27FC236}">
                <a16:creationId xmlns:a16="http://schemas.microsoft.com/office/drawing/2014/main" id="{F01C4651-D44C-F1D7-C121-CF758C83EB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838" t="10962" r="13771" b="10540"/>
          <a:stretch/>
        </p:blipFill>
        <p:spPr>
          <a:xfrm>
            <a:off x="8220173" y="4648113"/>
            <a:ext cx="778053" cy="36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594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mit vielen Punk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3996188"/>
            <a:ext cx="9144000" cy="11473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9532" y="206438"/>
            <a:ext cx="8526334" cy="400110"/>
          </a:xfrm>
        </p:spPr>
        <p:txBody>
          <a:bodyPr/>
          <a:lstStyle>
            <a:lvl1pPr>
              <a:spcBef>
                <a:spcPts val="0"/>
              </a:spcBef>
              <a:defRPr sz="26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59532" y="843558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1</a:t>
            </a:r>
            <a:endParaRPr lang="en-US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59532" y="1304409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2</a:t>
            </a:r>
            <a:endParaRPr lang="en-US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9532" y="1765260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3</a:t>
            </a:r>
            <a:endParaRPr lang="en-US"/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9532" y="2226111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4</a:t>
            </a:r>
            <a:endParaRPr lang="en-US"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9532" y="2686962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5</a:t>
            </a:r>
            <a:endParaRPr lang="en-US"/>
          </a:p>
        </p:txBody>
      </p:sp>
      <p:sp>
        <p:nvSpPr>
          <p:cNvPr id="17" name="Textplatzhalter 1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59532" y="3147814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6</a:t>
            </a:r>
            <a:endParaRPr lang="en-US"/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27584" y="900448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827584" y="1361299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827584" y="1822150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27584" y="2283001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827584" y="2743852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7584" y="3204704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24" name="Textplatzhalter 17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709910" y="843558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7</a:t>
            </a:r>
            <a:endParaRPr lang="en-US"/>
          </a:p>
        </p:txBody>
      </p:sp>
      <p:sp>
        <p:nvSpPr>
          <p:cNvPr id="25" name="Textplatzhalter 17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709910" y="1304409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8</a:t>
            </a:r>
            <a:endParaRPr lang="en-US"/>
          </a:p>
        </p:txBody>
      </p:sp>
      <p:sp>
        <p:nvSpPr>
          <p:cNvPr id="26" name="Textplatzhalter 17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709910" y="1765260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9</a:t>
            </a:r>
            <a:endParaRPr lang="en-US"/>
          </a:p>
        </p:txBody>
      </p:sp>
      <p:sp>
        <p:nvSpPr>
          <p:cNvPr id="27" name="Textplatzhalter 17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709910" y="2226111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10</a:t>
            </a:r>
            <a:endParaRPr lang="en-US"/>
          </a:p>
        </p:txBody>
      </p:sp>
      <p:sp>
        <p:nvSpPr>
          <p:cNvPr id="28" name="Textplatzhalter 17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709910" y="2686962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11</a:t>
            </a:r>
            <a:endParaRPr lang="en-US"/>
          </a:p>
        </p:txBody>
      </p:sp>
      <p:sp>
        <p:nvSpPr>
          <p:cNvPr id="29" name="Textplatzhalter 17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4709910" y="3147814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12</a:t>
            </a:r>
            <a:endParaRPr lang="en-US"/>
          </a:p>
        </p:txBody>
      </p:sp>
      <p:sp>
        <p:nvSpPr>
          <p:cNvPr id="30" name="Textplatzhalter 10"/>
          <p:cNvSpPr>
            <a:spLocks noGrp="1"/>
          </p:cNvSpPr>
          <p:nvPr>
            <p:ph type="body" sz="quarter" idx="35" hasCustomPrompt="1"/>
          </p:nvPr>
        </p:nvSpPr>
        <p:spPr>
          <a:xfrm>
            <a:off x="5177962" y="900448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31" name="Textplatzhalter 10"/>
          <p:cNvSpPr>
            <a:spLocks noGrp="1"/>
          </p:cNvSpPr>
          <p:nvPr>
            <p:ph type="body" sz="quarter" idx="36" hasCustomPrompt="1"/>
          </p:nvPr>
        </p:nvSpPr>
        <p:spPr>
          <a:xfrm>
            <a:off x="5177962" y="1361299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32" name="Textplatzhalter 10"/>
          <p:cNvSpPr>
            <a:spLocks noGrp="1"/>
          </p:cNvSpPr>
          <p:nvPr>
            <p:ph type="body" sz="quarter" idx="37" hasCustomPrompt="1"/>
          </p:nvPr>
        </p:nvSpPr>
        <p:spPr>
          <a:xfrm>
            <a:off x="5177962" y="1822150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33" name="Textplatzhalter 10"/>
          <p:cNvSpPr>
            <a:spLocks noGrp="1"/>
          </p:cNvSpPr>
          <p:nvPr>
            <p:ph type="body" sz="quarter" idx="38" hasCustomPrompt="1"/>
          </p:nvPr>
        </p:nvSpPr>
        <p:spPr>
          <a:xfrm>
            <a:off x="5177962" y="2283001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34" name="Textplatzhalter 10"/>
          <p:cNvSpPr>
            <a:spLocks noGrp="1"/>
          </p:cNvSpPr>
          <p:nvPr>
            <p:ph type="body" sz="quarter" idx="39" hasCustomPrompt="1"/>
          </p:nvPr>
        </p:nvSpPr>
        <p:spPr>
          <a:xfrm>
            <a:off x="5177962" y="2743852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sp>
        <p:nvSpPr>
          <p:cNvPr id="35" name="Textplatzhalter 10"/>
          <p:cNvSpPr>
            <a:spLocks noGrp="1"/>
          </p:cNvSpPr>
          <p:nvPr>
            <p:ph type="body" sz="quarter" idx="40" hasCustomPrompt="1"/>
          </p:nvPr>
        </p:nvSpPr>
        <p:spPr>
          <a:xfrm>
            <a:off x="5177962" y="3204704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grpSp>
        <p:nvGrpSpPr>
          <p:cNvPr id="36" name="Gruppieren 35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37" name="Freihandform 36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8" name="Freihandform 37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9" name="Gruppieren 38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40" name="Freihandform 39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1" name="Freihandform 40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2" name="Freihandform 41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3" name="Freihandform 42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4" name="Gruppieren 43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45" name="Freihandform 44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" name="Freihandform 45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7" name="Gruppieren 46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48" name="Freihandform 47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" name="Freihandform 48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" name="Freihandform 49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1" name="Freihandform 50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52" name="Freihandform 51"/>
          <p:cNvSpPr>
            <a:spLocks noChangeAspect="1"/>
          </p:cNvSpPr>
          <p:nvPr userDrawn="1"/>
        </p:nvSpPr>
        <p:spPr bwMode="gray">
          <a:xfrm>
            <a:off x="0" y="3746837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EB645AD-992D-D748-9A4F-E7676C7681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7453" y="4669656"/>
            <a:ext cx="1099800" cy="314561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29E31198-BDAF-66C7-674A-6A4C4385630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4930" y="4644194"/>
            <a:ext cx="820827" cy="310134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E1E1D30F-3248-D751-427C-9D862263F79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5148677" y="4650975"/>
            <a:ext cx="1345856" cy="364309"/>
          </a:xfrm>
          <a:prstGeom prst="rect">
            <a:avLst/>
          </a:prstGeom>
        </p:spPr>
      </p:pic>
      <p:pic>
        <p:nvPicPr>
          <p:cNvPr id="5" name="Grafik 4" descr="Ein Bild, das Text, Schrift, Logo, Symbol enthält.&#10;&#10;Automatisch generierte Beschreibung">
            <a:extLst>
              <a:ext uri="{FF2B5EF4-FFF2-40B4-BE49-F238E27FC236}">
                <a16:creationId xmlns:a16="http://schemas.microsoft.com/office/drawing/2014/main" id="{66424A71-911F-3B6F-A2A9-9D263A4103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838" t="10962" r="13771" b="10540"/>
          <a:stretch/>
        </p:blipFill>
        <p:spPr>
          <a:xfrm>
            <a:off x="8220173" y="4648113"/>
            <a:ext cx="778053" cy="36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39760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3996188"/>
            <a:ext cx="9144000" cy="11473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904148" y="1138204"/>
            <a:ext cx="2981718" cy="2981718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01</a:t>
            </a:r>
            <a:endParaRPr lang="en-US"/>
          </a:p>
        </p:txBody>
      </p:sp>
      <p:sp>
        <p:nvSpPr>
          <p:cNvPr id="24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358775" y="1599642"/>
            <a:ext cx="5041317" cy="923330"/>
          </a:xfrm>
        </p:spPr>
        <p:txBody>
          <a:bodyPr anchor="ctr" anchorCtr="0"/>
          <a:lstStyle>
            <a:lvl1pPr>
              <a:spcBef>
                <a:spcPts val="0"/>
              </a:spcBef>
              <a:defRPr sz="30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Platzhalter für einen </a:t>
            </a:r>
            <a:r>
              <a:rPr lang="de-DE" err="1"/>
              <a:t>Agendapunkt</a:t>
            </a:r>
            <a:endParaRPr lang="de-DE"/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1" name="Freihandform 10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Freihandform 26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8" name="Freihandform 27"/>
          <p:cNvSpPr>
            <a:spLocks noChangeAspect="1"/>
          </p:cNvSpPr>
          <p:nvPr userDrawn="1"/>
        </p:nvSpPr>
        <p:spPr bwMode="gray">
          <a:xfrm>
            <a:off x="0" y="3746837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BAE611C2-294B-44C9-FCA7-0D6EB0BFDD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81291" y="4715558"/>
            <a:ext cx="3536828" cy="403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9130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1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716462" y="1110450"/>
            <a:ext cx="4176713" cy="137473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/>
              <a:t>Hier kann bei Bedarf eine Quelle eingefügt werden</a:t>
            </a:r>
            <a:endParaRPr lang="en-GB"/>
          </a:p>
        </p:txBody>
      </p:sp>
      <p:sp>
        <p:nvSpPr>
          <p:cNvPr id="3" name="Textfeld 2"/>
          <p:cNvSpPr txBox="1"/>
          <p:nvPr userDrawn="1"/>
        </p:nvSpPr>
        <p:spPr>
          <a:xfrm>
            <a:off x="4716462" y="4516438"/>
            <a:ext cx="4176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algn="r">
              <a:spcBef>
                <a:spcPts val="1200"/>
              </a:spcBef>
              <a:buFont typeface="Arial" pitchFamily="34" charset="0"/>
              <a:buNone/>
              <a:defRPr sz="800" b="0" cap="none" baseline="0">
                <a:solidFill>
                  <a:schemeClr val="bg2"/>
                </a:solidFill>
              </a:defRPr>
            </a:lvl1pPr>
            <a:lvl2pPr marL="0" indent="0">
              <a:spcBef>
                <a:spcPts val="800"/>
              </a:spcBef>
              <a:buFont typeface="Arial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269875" indent="-269875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538163" indent="-268288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808038" indent="-269875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/>
            <a:r>
              <a:rPr lang="de-DE">
                <a:solidFill>
                  <a:schemeClr val="accent5"/>
                </a:solidFill>
              </a:rPr>
              <a:t>www.mediaserver.hamburg.de / Maxim Schulz</a:t>
            </a:r>
          </a:p>
        </p:txBody>
      </p:sp>
    </p:spTree>
    <p:extLst>
      <p:ext uri="{BB962C8B-B14F-4D97-AF65-F5344CB8AC3E}">
        <p14:creationId xmlns:p14="http://schemas.microsoft.com/office/powerpoint/2010/main" val="40400762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29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17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 24"/>
          <p:cNvSpPr/>
          <p:nvPr userDrawn="1"/>
        </p:nvSpPr>
        <p:spPr>
          <a:xfrm>
            <a:off x="0" y="4778322"/>
            <a:ext cx="9144000" cy="36517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5380713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9" imgW="344" imgH="344" progId="TCLayout.ActiveDocument.1">
                  <p:embed/>
                </p:oleObj>
              </mc:Choice>
              <mc:Fallback>
                <p:oleObj name="think-cell Folie" r:id="rId29" imgW="344" imgH="34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58775" y="279134"/>
            <a:ext cx="8529485" cy="72019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58775" y="1110450"/>
            <a:ext cx="8529485" cy="137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103140" y="4667572"/>
            <a:ext cx="1926000" cy="218473"/>
          </a:xfrm>
          <a:prstGeom prst="rect">
            <a:avLst/>
          </a:prstGeom>
          <a:solidFill>
            <a:schemeClr val="bg2"/>
          </a:solidFill>
        </p:spPr>
        <p:txBody>
          <a:bodyPr vert="horz" wrap="none" lIns="36000" tIns="39600" rIns="36000" bIns="39600" rtlCol="0" anchor="ctr">
            <a:noAutofit/>
          </a:bodyPr>
          <a:lstStyle>
            <a:lvl1pPr algn="l">
              <a:defRPr sz="900" cap="none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latzhalter für den Präsentationstite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3" name="Freihandform 12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Freihandform 14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0" name="Gruppieren 19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21" name="Freihandform 20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Freihandform 21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Freihandform 22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3" name="Gruppieren 32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34" name="Freihandform 33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Freihandform 34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6" name="Gruppieren 35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37" name="Freihandform 36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8" name="Freihandform 37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9" name="Freihandform 38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0" name="Freihandform 39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8" name="Freihandform 27"/>
          <p:cNvSpPr>
            <a:spLocks noChangeAspect="1"/>
          </p:cNvSpPr>
          <p:nvPr userDrawn="1"/>
        </p:nvSpPr>
        <p:spPr bwMode="gray">
          <a:xfrm>
            <a:off x="0" y="4643322"/>
            <a:ext cx="946800" cy="270000"/>
          </a:xfrm>
          <a:custGeom>
            <a:avLst/>
            <a:gdLst/>
            <a:ahLst/>
            <a:cxnLst/>
            <a:rect l="l" t="t" r="r" b="b"/>
            <a:pathLst>
              <a:path w="946800" h="270000">
                <a:moveTo>
                  <a:pt x="0" y="0"/>
                </a:moveTo>
                <a:lnTo>
                  <a:pt x="407" y="0"/>
                </a:lnTo>
                <a:lnTo>
                  <a:pt x="513546" y="0"/>
                </a:lnTo>
                <a:lnTo>
                  <a:pt x="544621" y="0"/>
                </a:lnTo>
                <a:lnTo>
                  <a:pt x="595565" y="0"/>
                </a:lnTo>
                <a:lnTo>
                  <a:pt x="946800" y="0"/>
                </a:lnTo>
                <a:lnTo>
                  <a:pt x="790687" y="229347"/>
                </a:lnTo>
                <a:cubicBezTo>
                  <a:pt x="773288" y="253081"/>
                  <a:pt x="752401" y="268960"/>
                  <a:pt x="719303" y="270000"/>
                </a:cubicBezTo>
                <a:lnTo>
                  <a:pt x="595565" y="270000"/>
                </a:lnTo>
                <a:lnTo>
                  <a:pt x="544621" y="270000"/>
                </a:lnTo>
                <a:lnTo>
                  <a:pt x="513546" y="270000"/>
                </a:lnTo>
                <a:lnTo>
                  <a:pt x="407" y="270000"/>
                </a:lnTo>
                <a:lnTo>
                  <a:pt x="0" y="270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CDD6479-0AA0-649B-DF60-6326247E9B62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6328422" y="4800829"/>
            <a:ext cx="2789697" cy="318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798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09" r:id="rId4"/>
    <p:sldLayoutId id="2147483711" r:id="rId5"/>
    <p:sldLayoutId id="2147483663" r:id="rId6"/>
    <p:sldLayoutId id="2147483677" r:id="rId7"/>
    <p:sldLayoutId id="2147483678" r:id="rId8"/>
    <p:sldLayoutId id="2147483685" r:id="rId9"/>
    <p:sldLayoutId id="2147483712" r:id="rId10"/>
    <p:sldLayoutId id="2147483686" r:id="rId11"/>
    <p:sldLayoutId id="2147483687" r:id="rId12"/>
    <p:sldLayoutId id="2147483688" r:id="rId13"/>
    <p:sldLayoutId id="2147483684" r:id="rId14"/>
    <p:sldLayoutId id="2147483689" r:id="rId15"/>
    <p:sldLayoutId id="2147483690" r:id="rId16"/>
    <p:sldLayoutId id="2147483691" r:id="rId17"/>
    <p:sldLayoutId id="2147483692" r:id="rId18"/>
    <p:sldLayoutId id="2147483707" r:id="rId19"/>
    <p:sldLayoutId id="2147483693" r:id="rId20"/>
    <p:sldLayoutId id="2147483667" r:id="rId21"/>
    <p:sldLayoutId id="2147483751" r:id="rId22"/>
    <p:sldLayoutId id="2147483710" r:id="rId23"/>
    <p:sldLayoutId id="2147483713" r:id="rId24"/>
    <p:sldLayoutId id="2147483752" r:id="rId25"/>
    <p:sldLayoutId id="2147483753" r:id="rId2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itchFamily="34" charset="0"/>
        <a:buNone/>
        <a:defRPr sz="1600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800"/>
        </a:spcBef>
        <a:buFont typeface="Arial" pitchFamily="34" charset="0"/>
        <a:buNone/>
        <a:defRPr sz="1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269875" indent="-269875" algn="l" defTabSz="914400" rtl="0" eaLnBrk="1" latinLnBrk="0" hangingPunct="1">
        <a:spcBef>
          <a:spcPts val="400"/>
        </a:spcBef>
        <a:buClr>
          <a:schemeClr val="accent1"/>
        </a:buClr>
        <a:buSzPct val="150000"/>
        <a:buFont typeface="Aria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538163" indent="-268288" algn="l" defTabSz="914400" rtl="0" eaLnBrk="1" latinLnBrk="0" hangingPunct="1">
        <a:spcBef>
          <a:spcPts val="200"/>
        </a:spcBef>
        <a:buClr>
          <a:schemeClr val="accent1"/>
        </a:buClr>
        <a:buSzPct val="150000"/>
        <a:buFont typeface="Aria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808038" indent="-269875" algn="l" defTabSz="914400" rtl="0" eaLnBrk="1" latinLnBrk="0" hangingPunct="1">
        <a:spcBef>
          <a:spcPts val="200"/>
        </a:spcBef>
        <a:buClr>
          <a:schemeClr val="accent1"/>
        </a:buClr>
        <a:buSzPct val="150000"/>
        <a:buFont typeface="Aria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34203065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Title Placeholder 77"/>
          <p:cNvSpPr>
            <a:spLocks noGrp="1"/>
          </p:cNvSpPr>
          <p:nvPr>
            <p:ph type="title"/>
          </p:nvPr>
        </p:nvSpPr>
        <p:spPr>
          <a:xfrm>
            <a:off x="797539" y="357504"/>
            <a:ext cx="7562480" cy="506497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/>
          <a:p>
            <a:pPr lvl="0">
              <a:lnSpc>
                <a:spcPts val="2100"/>
              </a:lnSpc>
            </a:pPr>
            <a:r>
              <a:rPr lang="de-DE"/>
              <a:t>Titelmasterformat durch Klicken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7539" y="1006079"/>
            <a:ext cx="7562480" cy="34563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Shape 8"/>
          <p:cNvSpPr txBox="1">
            <a:spLocks/>
          </p:cNvSpPr>
          <p:nvPr userDrawn="1"/>
        </p:nvSpPr>
        <p:spPr>
          <a:xfrm>
            <a:off x="8031774" y="4740089"/>
            <a:ext cx="360046" cy="112059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de-DE" sz="675" smtClean="0">
                <a:solidFill>
                  <a:srgbClr val="00338D"/>
                </a:solidFill>
                <a:cs typeface="Arial" panose="020B0604020202020204" pitchFamily="34" charset="0"/>
              </a:rPr>
              <a:pPr algn="r"/>
              <a:t>‹#›</a:t>
            </a:fld>
            <a:endParaRPr lang="de-DE" sz="675">
              <a:solidFill>
                <a:srgbClr val="00338D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6152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</p:sldLayoutIdLst>
  <p:hf hdr="0" dt="0"/>
  <p:txStyles>
    <p:titleStyle>
      <a:lvl1pPr eaLnBrk="1" hangingPunct="1">
        <a:lnSpc>
          <a:spcPct val="70000"/>
        </a:lnSpc>
        <a:defRPr lang="en-US" sz="2100" b="0" i="0" dirty="0">
          <a:solidFill>
            <a:srgbClr val="00338D"/>
          </a:solidFill>
          <a:latin typeface="KPMG Light" panose="020B0403030202040204" pitchFamily="34" charset="0"/>
          <a:cs typeface="KPMG Light" panose="020B0403030202040204" pitchFamily="34" charset="0"/>
        </a:defRPr>
      </a:lvl1pPr>
    </p:titleStyle>
    <p:bodyStyle>
      <a:lvl1pPr eaLnBrk="1" hangingPunct="1">
        <a:spcAft>
          <a:spcPts val="450"/>
        </a:spcAft>
        <a:defRPr sz="1050" b="1" i="0">
          <a:solidFill>
            <a:srgbClr val="00338D"/>
          </a:solidFill>
          <a:latin typeface="Univers for KPMG"/>
          <a:cs typeface="Univers for KPMG"/>
        </a:defRPr>
      </a:lvl1pPr>
      <a:lvl2pPr marL="0" indent="0" eaLnBrk="1" hangingPunct="1">
        <a:spcAft>
          <a:spcPts val="450"/>
        </a:spcAft>
        <a:buFontTx/>
        <a:buNone/>
        <a:defRPr sz="1050" b="0" i="0">
          <a:solidFill>
            <a:srgbClr val="00338D"/>
          </a:solidFill>
          <a:latin typeface="Univers for KPMG Light" panose="020B0403020202020204" pitchFamily="34" charset="0"/>
          <a:cs typeface="Univers for KPMG Light" panose="020B0403020202020204" pitchFamily="34" charset="0"/>
        </a:defRPr>
      </a:lvl2pPr>
      <a:lvl3pPr marL="214313" indent="-212598" algn="l" eaLnBrk="1" hangingPunct="1">
        <a:spcAft>
          <a:spcPts val="450"/>
        </a:spcAft>
        <a:buClrTx/>
        <a:buFont typeface="Univers for KPMG Light" panose="020B0403020202020204" pitchFamily="34" charset="0"/>
        <a:buChar char="—"/>
        <a:defRPr sz="1050" b="0" i="0">
          <a:solidFill>
            <a:srgbClr val="00338D"/>
          </a:solidFill>
          <a:latin typeface="Univers for KPMG Light" panose="020B0403020202020204" pitchFamily="34" charset="0"/>
          <a:cs typeface="Univers for KPMG Light" panose="020B0403020202020204" pitchFamily="34" charset="0"/>
        </a:defRPr>
      </a:lvl3pPr>
      <a:lvl4pPr marL="428625" indent="-171450" algn="l" eaLnBrk="1" hangingPunct="1">
        <a:spcAft>
          <a:spcPts val="450"/>
        </a:spcAft>
        <a:buFont typeface="Univers for KPMG Light" panose="020B0403020202020204" pitchFamily="34" charset="0"/>
        <a:buChar char="-"/>
        <a:defRPr sz="1050" b="0" i="0">
          <a:solidFill>
            <a:srgbClr val="00338D"/>
          </a:solidFill>
          <a:latin typeface="Univers for KPMG Light" panose="020B0403020202020204" pitchFamily="34" charset="0"/>
          <a:cs typeface="Univers for KPMG Light" panose="020B0403020202020204" pitchFamily="34" charset="0"/>
        </a:defRPr>
      </a:lvl4pPr>
      <a:lvl5pPr marL="671513" indent="-212598" algn="l" eaLnBrk="1" hangingPunct="1">
        <a:spcAft>
          <a:spcPts val="450"/>
        </a:spcAft>
        <a:buFont typeface="Univers for KPMG Light" panose="020B0403020202020204" pitchFamily="34" charset="0"/>
        <a:buChar char="—"/>
        <a:defRPr sz="1050" b="0" i="0">
          <a:solidFill>
            <a:srgbClr val="00338D"/>
          </a:solidFill>
          <a:latin typeface="Univers for KPMG Light" panose="020B0403020202020204" pitchFamily="34" charset="0"/>
          <a:cs typeface="Univers for KPMG Light" panose="020B0403020202020204" pitchFamily="34" charset="0"/>
        </a:defRPr>
      </a:lvl5pPr>
      <a:lvl6pPr marL="871538" indent="-171450" algn="l" eaLnBrk="1" hangingPunct="1">
        <a:spcAft>
          <a:spcPts val="450"/>
        </a:spcAft>
        <a:buFont typeface="Univers for KPMG Light" panose="020B0403020202020204" pitchFamily="34" charset="0"/>
        <a:buChar char="-"/>
        <a:defRPr sz="1125" baseline="0">
          <a:solidFill>
            <a:srgbClr val="00338D"/>
          </a:solidFill>
          <a:latin typeface="Univers for KPMG Light" panose="020B0403020202020204" pitchFamily="34" charset="0"/>
        </a:defRPr>
      </a:lvl6pPr>
      <a:lvl7pPr marL="1078706" indent="-212598" algn="l" eaLnBrk="1" hangingPunct="1">
        <a:spcAft>
          <a:spcPts val="450"/>
        </a:spcAft>
        <a:buFont typeface="Univers for KPMG Light" panose="020B0403020202020204" pitchFamily="34" charset="0"/>
        <a:buChar char="—"/>
        <a:defRPr sz="1125">
          <a:solidFill>
            <a:srgbClr val="00338D"/>
          </a:solidFill>
          <a:latin typeface="Univers for KPMG Light" panose="020B0403020202020204" pitchFamily="34" charset="0"/>
        </a:defRPr>
      </a:lvl7pPr>
      <a:lvl8pPr marL="1343025" indent="-171450" algn="l" eaLnBrk="1" hangingPunct="1">
        <a:spcAft>
          <a:spcPts val="450"/>
        </a:spcAft>
        <a:buFont typeface="Univers for KPMG Light" panose="020B0403020202020204" pitchFamily="34" charset="0"/>
        <a:buChar char="-"/>
        <a:defRPr sz="1125">
          <a:solidFill>
            <a:srgbClr val="00338D"/>
          </a:solidFill>
          <a:latin typeface="Univers for KPMG Light" panose="020B0403020202020204" pitchFamily="34" charset="0"/>
        </a:defRPr>
      </a:lvl8pPr>
      <a:lvl9pPr marL="1614488" indent="-212598" algn="l" eaLnBrk="1" hangingPunct="1">
        <a:spcAft>
          <a:spcPts val="450"/>
        </a:spcAft>
        <a:buFont typeface="Univers for KPMG Light" panose="020B0403020202020204" pitchFamily="34" charset="0"/>
        <a:buChar char="—"/>
        <a:defRPr sz="1125">
          <a:solidFill>
            <a:srgbClr val="00338D"/>
          </a:solidFill>
          <a:latin typeface="Univers for KPMG Light" panose="020B0403020202020204" pitchFamily="34" charset="0"/>
        </a:defRPr>
      </a:lvl9pPr>
    </p:bodyStyle>
    <p:otherStyle/>
  </p:txStyles>
  <p:extLst>
    <p:ext uri="{27BBF7A9-308A-43DC-89C8-2F10F3537804}">
      <p15:sldGuideLst xmlns:p15="http://schemas.microsoft.com/office/powerpoint/2012/main">
        <p15:guide id="2" pos="535">
          <p15:clr>
            <a:srgbClr val="A4A3A4"/>
          </p15:clr>
        </p15:guide>
        <p15:guide id="3" pos="5705">
          <p15:clr>
            <a:srgbClr val="A4A3A4"/>
          </p15:clr>
        </p15:guide>
        <p15:guide id="5" orient="horz" pos="845">
          <p15:clr>
            <a:srgbClr val="A4A3A4"/>
          </p15:clr>
        </p15:guide>
        <p15:guide id="6" orient="horz" pos="3748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754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8.xml"/><Relationship Id="rId5" Type="http://schemas.openxmlformats.org/officeDocument/2006/relationships/image" Target="../media/image72.jpeg"/><Relationship Id="rId4" Type="http://schemas.openxmlformats.org/officeDocument/2006/relationships/image" Target="../media/image27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9.xml"/><Relationship Id="rId5" Type="http://schemas.openxmlformats.org/officeDocument/2006/relationships/image" Target="../media/image26.jpeg"/><Relationship Id="rId4" Type="http://schemas.openxmlformats.org/officeDocument/2006/relationships/image" Target="../media/image25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5" Type="http://schemas.openxmlformats.org/officeDocument/2006/relationships/image" Target="../media/image26.jpeg"/><Relationship Id="rId4" Type="http://schemas.openxmlformats.org/officeDocument/2006/relationships/image" Target="../media/image25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30.png"/><Relationship Id="rId12" Type="http://schemas.openxmlformats.org/officeDocument/2006/relationships/image" Target="../media/image35.jpe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0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jpeg"/><Relationship Id="rId10" Type="http://schemas.openxmlformats.org/officeDocument/2006/relationships/image" Target="../media/image33.png"/><Relationship Id="rId4" Type="http://schemas.openxmlformats.org/officeDocument/2006/relationships/image" Target="../media/image27.emf"/><Relationship Id="rId9" Type="http://schemas.openxmlformats.org/officeDocument/2006/relationships/image" Target="../media/image3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slide" Target="slide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3.xml"/><Relationship Id="rId5" Type="http://schemas.openxmlformats.org/officeDocument/2006/relationships/image" Target="../media/image26.jpeg"/><Relationship Id="rId4" Type="http://schemas.openxmlformats.org/officeDocument/2006/relationships/image" Target="../media/image25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4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27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5.xml"/><Relationship Id="rId6" Type="http://schemas.openxmlformats.org/officeDocument/2006/relationships/image" Target="../media/image39.png"/><Relationship Id="rId11" Type="http://schemas.openxmlformats.org/officeDocument/2006/relationships/image" Target="../media/image24.jpeg"/><Relationship Id="rId5" Type="http://schemas.openxmlformats.org/officeDocument/2006/relationships/image" Target="../media/image38.png"/><Relationship Id="rId10" Type="http://schemas.openxmlformats.org/officeDocument/2006/relationships/image" Target="../media/image43.svg"/><Relationship Id="rId4" Type="http://schemas.openxmlformats.org/officeDocument/2006/relationships/image" Target="../media/image27.emf"/><Relationship Id="rId9" Type="http://schemas.openxmlformats.org/officeDocument/2006/relationships/image" Target="../media/image4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svg"/><Relationship Id="rId18" Type="http://schemas.openxmlformats.org/officeDocument/2006/relationships/image" Target="../media/image56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5.svg"/><Relationship Id="rId12" Type="http://schemas.openxmlformats.org/officeDocument/2006/relationships/image" Target="../media/image50.png"/><Relationship Id="rId17" Type="http://schemas.openxmlformats.org/officeDocument/2006/relationships/image" Target="../media/image55.svg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54.png"/><Relationship Id="rId1" Type="http://schemas.openxmlformats.org/officeDocument/2006/relationships/tags" Target="../tags/tag16.xml"/><Relationship Id="rId6" Type="http://schemas.openxmlformats.org/officeDocument/2006/relationships/image" Target="../media/image44.png"/><Relationship Id="rId11" Type="http://schemas.openxmlformats.org/officeDocument/2006/relationships/image" Target="../media/image49.svg"/><Relationship Id="rId5" Type="http://schemas.openxmlformats.org/officeDocument/2006/relationships/image" Target="../media/image27.emf"/><Relationship Id="rId15" Type="http://schemas.openxmlformats.org/officeDocument/2006/relationships/image" Target="../media/image53.svg"/><Relationship Id="rId10" Type="http://schemas.openxmlformats.org/officeDocument/2006/relationships/image" Target="../media/image48.png"/><Relationship Id="rId19" Type="http://schemas.openxmlformats.org/officeDocument/2006/relationships/image" Target="../media/image57.sv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47.svg"/><Relationship Id="rId14" Type="http://schemas.openxmlformats.org/officeDocument/2006/relationships/image" Target="../media/image5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13" Type="http://schemas.openxmlformats.org/officeDocument/2006/relationships/image" Target="../media/image62.png"/><Relationship Id="rId18" Type="http://schemas.openxmlformats.org/officeDocument/2006/relationships/image" Target="../media/image66.png"/><Relationship Id="rId3" Type="http://schemas.openxmlformats.org/officeDocument/2006/relationships/notesSlide" Target="../notesSlides/notesSlide3.xml"/><Relationship Id="rId21" Type="http://schemas.openxmlformats.org/officeDocument/2006/relationships/image" Target="../media/image69.svg"/><Relationship Id="rId7" Type="http://schemas.openxmlformats.org/officeDocument/2006/relationships/image" Target="../media/image59.png"/><Relationship Id="rId12" Type="http://schemas.openxmlformats.org/officeDocument/2006/relationships/hyperlink" Target="https://www.hamburger-energienetze.de/partner/dienstleister-lieferanten/allgemeine-informationen" TargetMode="External"/><Relationship Id="rId17" Type="http://schemas.openxmlformats.org/officeDocument/2006/relationships/image" Target="../media/image65.svg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64.png"/><Relationship Id="rId20" Type="http://schemas.openxmlformats.org/officeDocument/2006/relationships/image" Target="../media/image68.png"/><Relationship Id="rId1" Type="http://schemas.openxmlformats.org/officeDocument/2006/relationships/tags" Target="../tags/tag17.xml"/><Relationship Id="rId6" Type="http://schemas.openxmlformats.org/officeDocument/2006/relationships/image" Target="../media/image58.png"/><Relationship Id="rId11" Type="http://schemas.openxmlformats.org/officeDocument/2006/relationships/hyperlink" Target="https://www.hamburg-port-authority.de/de/hpa-360/beschaffung/lieferantenmanagement" TargetMode="External"/><Relationship Id="rId5" Type="http://schemas.openxmlformats.org/officeDocument/2006/relationships/image" Target="../media/image27.emf"/><Relationship Id="rId15" Type="http://schemas.openxmlformats.org/officeDocument/2006/relationships/hyperlink" Target="https://www.youtube.com/watch?v=JCYv2F9mj9w" TargetMode="External"/><Relationship Id="rId23" Type="http://schemas.openxmlformats.org/officeDocument/2006/relationships/image" Target="../media/image71.svg"/><Relationship Id="rId10" Type="http://schemas.openxmlformats.org/officeDocument/2006/relationships/hyperlink" Target="https://unternehmen.hamburger-energiewerke.de/vergabe/ausschreibungen" TargetMode="External"/><Relationship Id="rId19" Type="http://schemas.openxmlformats.org/officeDocument/2006/relationships/image" Target="../media/image67.sv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61.svg"/><Relationship Id="rId14" Type="http://schemas.openxmlformats.org/officeDocument/2006/relationships/image" Target="../media/image63.svg"/><Relationship Id="rId22" Type="http://schemas.openxmlformats.org/officeDocument/2006/relationships/image" Target="../media/image7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B5ABCD8A-8DAC-411C-A68A-B29B905ED2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7941" y="869506"/>
            <a:ext cx="2385810" cy="421315"/>
          </a:xfrm>
        </p:spPr>
        <p:txBody>
          <a:bodyPr/>
          <a:lstStyle/>
          <a:p>
            <a:r>
              <a:rPr lang="de-DE"/>
              <a:t>Vorstellung</a:t>
            </a:r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C2C83AD2-7AF6-4B6D-9934-39F9E08714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241247" y="1340745"/>
            <a:ext cx="2385810" cy="421315"/>
          </a:xfrm>
        </p:spPr>
        <p:txBody>
          <a:bodyPr/>
          <a:lstStyle/>
          <a:p>
            <a:r>
              <a:rPr lang="de-DE"/>
              <a:t>LIIMA der HPA</a:t>
            </a:r>
          </a:p>
        </p:txBody>
      </p:sp>
      <p:sp>
        <p:nvSpPr>
          <p:cNvPr id="36" name="Untertitel 35">
            <a:extLst>
              <a:ext uri="{FF2B5EF4-FFF2-40B4-BE49-F238E27FC236}">
                <a16:creationId xmlns:a16="http://schemas.microsoft.com/office/drawing/2014/main" id="{B87B0BEE-D177-4A22-B735-CDFACA92277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/>
              <a:t>Aktueller Stand des LIMA 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EA13E70A-063B-4DBC-B1B4-ED910F6053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01/2025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A6A6D4EE-8859-4A3A-9A5C-BEC034593E8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3" name="Grafik 2" descr="Ein Bild, das draußen, Wasserfahrzeug, Transport, Himmel enthält.&#10;&#10;KI-generierte Inhalte können fehlerhaft sein.">
            <a:extLst>
              <a:ext uri="{FF2B5EF4-FFF2-40B4-BE49-F238E27FC236}">
                <a16:creationId xmlns:a16="http://schemas.microsoft.com/office/drawing/2014/main" id="{57E10E6A-BD47-A19E-BFD5-0E5953A7BD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Textplatzhalter 36">
            <a:extLst>
              <a:ext uri="{FF2B5EF4-FFF2-40B4-BE49-F238E27FC236}">
                <a16:creationId xmlns:a16="http://schemas.microsoft.com/office/drawing/2014/main" id="{BD63797E-AC66-0DE7-F59B-B95534D906ED}"/>
              </a:ext>
            </a:extLst>
          </p:cNvPr>
          <p:cNvSpPr txBox="1">
            <a:spLocks/>
          </p:cNvSpPr>
          <p:nvPr/>
        </p:nvSpPr>
        <p:spPr>
          <a:xfrm>
            <a:off x="409030" y="1157636"/>
            <a:ext cx="5588360" cy="657554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116100" tIns="18900" rIns="108000" bIns="54000" rtlCol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2800" b="1" i="0" kern="120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2800" b="1" i="0" kern="1200" cap="all" baseline="0">
                <a:solidFill>
                  <a:srgbClr val="FFC000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2800" b="1" i="0" kern="1200" cap="all" baseline="0">
                <a:solidFill>
                  <a:srgbClr val="FFC00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2800" b="1" i="0" kern="1200" cap="all" baseline="0">
                <a:solidFill>
                  <a:srgbClr val="FFC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2800" b="1" i="0" kern="1200" cap="all" baseline="0">
                <a:solidFill>
                  <a:srgbClr val="FFC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/>
              <a:t>Infoveranstaltung</a:t>
            </a:r>
          </a:p>
          <a:p>
            <a:r>
              <a:rPr lang="de-DE" sz="1500"/>
              <a:t>LIMA - Das gemeinsame Lieferantenmanagement  </a:t>
            </a:r>
          </a:p>
        </p:txBody>
      </p:sp>
      <p:sp>
        <p:nvSpPr>
          <p:cNvPr id="5" name="Textplatzhalter 35">
            <a:extLst>
              <a:ext uri="{FF2B5EF4-FFF2-40B4-BE49-F238E27FC236}">
                <a16:creationId xmlns:a16="http://schemas.microsoft.com/office/drawing/2014/main" id="{C0F93FBE-D510-B06F-4589-B7E06E4050A5}"/>
              </a:ext>
            </a:extLst>
          </p:cNvPr>
          <p:cNvSpPr txBox="1">
            <a:spLocks/>
          </p:cNvSpPr>
          <p:nvPr/>
        </p:nvSpPr>
        <p:spPr>
          <a:xfrm>
            <a:off x="409031" y="636096"/>
            <a:ext cx="4267333" cy="47603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16100" tIns="18900" rIns="108000" bIns="54000" rtlCol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2800" b="1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2800" b="1" i="0" kern="1200" cap="all" baseline="0">
                <a:solidFill>
                  <a:srgbClr val="FFC000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2800" b="1" i="0" kern="1200" cap="all" baseline="0">
                <a:solidFill>
                  <a:srgbClr val="FFC00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2800" b="1" i="0" kern="1200" cap="all" baseline="0">
                <a:solidFill>
                  <a:srgbClr val="FFC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2800" b="1" i="0" kern="1200" cap="all" baseline="0">
                <a:solidFill>
                  <a:srgbClr val="FFC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/>
              <a:t>Herzlich Willkommen</a:t>
            </a:r>
          </a:p>
        </p:txBody>
      </p:sp>
    </p:spTree>
    <p:extLst>
      <p:ext uri="{BB962C8B-B14F-4D97-AF65-F5344CB8AC3E}">
        <p14:creationId xmlns:p14="http://schemas.microsoft.com/office/powerpoint/2010/main" val="35095218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62ACF7B-5BC0-5E64-7ECB-6B656E31DD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8424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2ACF7B-5BC0-5E64-7ECB-6B656E31DD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05A71B1-5235-15FC-E66C-A5B29E573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 vert="horz"/>
          <a:lstStyle/>
          <a:p>
            <a:r>
              <a:rPr lang="de-DE"/>
              <a:t>Live Demo</a:t>
            </a:r>
          </a:p>
        </p:txBody>
      </p:sp>
      <p:sp>
        <p:nvSpPr>
          <p:cNvPr id="56" name="Foliennummernplatzhalter 4">
            <a:extLst>
              <a:ext uri="{FF2B5EF4-FFF2-40B4-BE49-F238E27FC236}">
                <a16:creationId xmlns:a16="http://schemas.microsoft.com/office/drawing/2014/main" id="{5D2CBF1D-593E-20DA-CBB4-EA0F99F560B9}"/>
              </a:ext>
            </a:extLst>
          </p:cNvPr>
          <p:cNvSpPr txBox="1">
            <a:spLocks/>
          </p:cNvSpPr>
          <p:nvPr/>
        </p:nvSpPr>
        <p:spPr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>
              <a:defRPr sz="800">
                <a:solidFill>
                  <a:schemeClr val="bg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63C361D-6D9E-4F98-8831-48736655B334}" type="slidenum">
              <a:rPr lang="en-US" smtClean="0"/>
              <a:pPr/>
              <a:t>10</a:t>
            </a:fld>
            <a:endParaRPr lang="en-US"/>
          </a:p>
        </p:txBody>
      </p: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35A6AD59-CC5E-58B2-3F75-827B7AAC54DF}"/>
              </a:ext>
            </a:extLst>
          </p:cNvPr>
          <p:cNvGrpSpPr/>
          <p:nvPr/>
        </p:nvGrpSpPr>
        <p:grpSpPr>
          <a:xfrm>
            <a:off x="2064235" y="640946"/>
            <a:ext cx="5532905" cy="4106756"/>
            <a:chOff x="2087095" y="388302"/>
            <a:chExt cx="5920033" cy="4357687"/>
          </a:xfrm>
        </p:grpSpPr>
        <p:sp>
          <p:nvSpPr>
            <p:cNvPr id="3" name="Rectangle 275">
              <a:extLst>
                <a:ext uri="{FF2B5EF4-FFF2-40B4-BE49-F238E27FC236}">
                  <a16:creationId xmlns:a16="http://schemas.microsoft.com/office/drawing/2014/main" id="{1F0E7304-AD16-127B-09F9-AE9E52573E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6338" y="2972901"/>
              <a:ext cx="1821549" cy="1773088"/>
            </a:xfrm>
            <a:prstGeom prst="rect">
              <a:avLst/>
            </a:pr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" name="Rectangle 276">
              <a:extLst>
                <a:ext uri="{FF2B5EF4-FFF2-40B4-BE49-F238E27FC236}">
                  <a16:creationId xmlns:a16="http://schemas.microsoft.com/office/drawing/2014/main" id="{DC39E961-9A9C-A6B5-65FA-9B98A8A13C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0951" y="4590357"/>
              <a:ext cx="2725999" cy="155631"/>
            </a:xfrm>
            <a:prstGeom prst="rect">
              <a:avLst/>
            </a:prstGeom>
            <a:solidFill>
              <a:srgbClr val="4C4C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" name="Freeform 277">
              <a:extLst>
                <a:ext uri="{FF2B5EF4-FFF2-40B4-BE49-F238E27FC236}">
                  <a16:creationId xmlns:a16="http://schemas.microsoft.com/office/drawing/2014/main" id="{86645093-9E35-4C88-1060-EEC5EE18E0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7097" y="388302"/>
              <a:ext cx="5920031" cy="3540620"/>
            </a:xfrm>
            <a:custGeom>
              <a:avLst/>
              <a:gdLst>
                <a:gd name="T0" fmla="*/ 393 w 393"/>
                <a:gd name="T1" fmla="*/ 247 h 267"/>
                <a:gd name="T2" fmla="*/ 376 w 393"/>
                <a:gd name="T3" fmla="*/ 267 h 267"/>
                <a:gd name="T4" fmla="*/ 18 w 393"/>
                <a:gd name="T5" fmla="*/ 267 h 267"/>
                <a:gd name="T6" fmla="*/ 0 w 393"/>
                <a:gd name="T7" fmla="*/ 247 h 267"/>
                <a:gd name="T8" fmla="*/ 0 w 393"/>
                <a:gd name="T9" fmla="*/ 19 h 267"/>
                <a:gd name="T10" fmla="*/ 18 w 393"/>
                <a:gd name="T11" fmla="*/ 0 h 267"/>
                <a:gd name="T12" fmla="*/ 376 w 393"/>
                <a:gd name="T13" fmla="*/ 0 h 267"/>
                <a:gd name="T14" fmla="*/ 393 w 393"/>
                <a:gd name="T15" fmla="*/ 19 h 267"/>
                <a:gd name="T16" fmla="*/ 393 w 393"/>
                <a:gd name="T17" fmla="*/ 24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3" h="267">
                  <a:moveTo>
                    <a:pt x="393" y="247"/>
                  </a:moveTo>
                  <a:cubicBezTo>
                    <a:pt x="393" y="258"/>
                    <a:pt x="385" y="267"/>
                    <a:pt x="376" y="267"/>
                  </a:cubicBezTo>
                  <a:cubicBezTo>
                    <a:pt x="18" y="267"/>
                    <a:pt x="18" y="267"/>
                    <a:pt x="18" y="267"/>
                  </a:cubicBezTo>
                  <a:cubicBezTo>
                    <a:pt x="8" y="267"/>
                    <a:pt x="0" y="258"/>
                    <a:pt x="0" y="24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376" y="0"/>
                    <a:pt x="376" y="0"/>
                    <a:pt x="376" y="0"/>
                  </a:cubicBezTo>
                  <a:cubicBezTo>
                    <a:pt x="385" y="0"/>
                    <a:pt x="393" y="9"/>
                    <a:pt x="393" y="19"/>
                  </a:cubicBezTo>
                  <a:cubicBezTo>
                    <a:pt x="393" y="247"/>
                    <a:pt x="393" y="247"/>
                    <a:pt x="393" y="247"/>
                  </a:cubicBezTo>
                </a:path>
              </a:pathLst>
            </a:custGeom>
            <a:solidFill>
              <a:srgbClr val="343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" name="Freeform 278">
              <a:extLst>
                <a:ext uri="{FF2B5EF4-FFF2-40B4-BE49-F238E27FC236}">
                  <a16:creationId xmlns:a16="http://schemas.microsoft.com/office/drawing/2014/main" id="{D551FC86-5B8E-51B1-F091-D54B69B973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7097" y="666216"/>
              <a:ext cx="5920031" cy="3540620"/>
            </a:xfrm>
            <a:custGeom>
              <a:avLst/>
              <a:gdLst>
                <a:gd name="T0" fmla="*/ 393 w 393"/>
                <a:gd name="T1" fmla="*/ 247 h 267"/>
                <a:gd name="T2" fmla="*/ 376 w 393"/>
                <a:gd name="T3" fmla="*/ 267 h 267"/>
                <a:gd name="T4" fmla="*/ 18 w 393"/>
                <a:gd name="T5" fmla="*/ 267 h 267"/>
                <a:gd name="T6" fmla="*/ 0 w 393"/>
                <a:gd name="T7" fmla="*/ 247 h 267"/>
                <a:gd name="T8" fmla="*/ 0 w 393"/>
                <a:gd name="T9" fmla="*/ 20 h 267"/>
                <a:gd name="T10" fmla="*/ 18 w 393"/>
                <a:gd name="T11" fmla="*/ 0 h 267"/>
                <a:gd name="T12" fmla="*/ 376 w 393"/>
                <a:gd name="T13" fmla="*/ 0 h 267"/>
                <a:gd name="T14" fmla="*/ 393 w 393"/>
                <a:gd name="T15" fmla="*/ 20 h 267"/>
                <a:gd name="T16" fmla="*/ 393 w 393"/>
                <a:gd name="T17" fmla="*/ 24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3" h="267">
                  <a:moveTo>
                    <a:pt x="393" y="247"/>
                  </a:moveTo>
                  <a:cubicBezTo>
                    <a:pt x="393" y="258"/>
                    <a:pt x="385" y="267"/>
                    <a:pt x="376" y="267"/>
                  </a:cubicBezTo>
                  <a:cubicBezTo>
                    <a:pt x="18" y="267"/>
                    <a:pt x="18" y="267"/>
                    <a:pt x="18" y="267"/>
                  </a:cubicBezTo>
                  <a:cubicBezTo>
                    <a:pt x="8" y="267"/>
                    <a:pt x="0" y="258"/>
                    <a:pt x="0" y="24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376" y="0"/>
                    <a:pt x="376" y="0"/>
                    <a:pt x="376" y="0"/>
                  </a:cubicBezTo>
                  <a:cubicBezTo>
                    <a:pt x="385" y="0"/>
                    <a:pt x="393" y="9"/>
                    <a:pt x="393" y="20"/>
                  </a:cubicBezTo>
                  <a:cubicBezTo>
                    <a:pt x="393" y="247"/>
                    <a:pt x="393" y="247"/>
                    <a:pt x="393" y="247"/>
                  </a:cubicBezTo>
                </a:path>
              </a:pathLst>
            </a:custGeom>
            <a:solidFill>
              <a:srgbClr val="2E3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7" name="Freeform 279">
              <a:extLst>
                <a:ext uri="{FF2B5EF4-FFF2-40B4-BE49-F238E27FC236}">
                  <a16:creationId xmlns:a16="http://schemas.microsoft.com/office/drawing/2014/main" id="{5B9F08EC-92EC-BB4E-1369-689147A73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7097" y="397510"/>
              <a:ext cx="5852943" cy="3531413"/>
            </a:xfrm>
            <a:custGeom>
              <a:avLst/>
              <a:gdLst>
                <a:gd name="T0" fmla="*/ 393 w 393"/>
                <a:gd name="T1" fmla="*/ 247 h 267"/>
                <a:gd name="T2" fmla="*/ 376 w 393"/>
                <a:gd name="T3" fmla="*/ 267 h 267"/>
                <a:gd name="T4" fmla="*/ 18 w 393"/>
                <a:gd name="T5" fmla="*/ 267 h 267"/>
                <a:gd name="T6" fmla="*/ 0 w 393"/>
                <a:gd name="T7" fmla="*/ 247 h 267"/>
                <a:gd name="T8" fmla="*/ 0 w 393"/>
                <a:gd name="T9" fmla="*/ 19 h 267"/>
                <a:gd name="T10" fmla="*/ 18 w 393"/>
                <a:gd name="T11" fmla="*/ 0 h 267"/>
                <a:gd name="T12" fmla="*/ 376 w 393"/>
                <a:gd name="T13" fmla="*/ 0 h 267"/>
                <a:gd name="T14" fmla="*/ 393 w 393"/>
                <a:gd name="T15" fmla="*/ 19 h 267"/>
                <a:gd name="T16" fmla="*/ 393 w 393"/>
                <a:gd name="T17" fmla="*/ 24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3" h="267">
                  <a:moveTo>
                    <a:pt x="393" y="247"/>
                  </a:moveTo>
                  <a:cubicBezTo>
                    <a:pt x="393" y="258"/>
                    <a:pt x="385" y="267"/>
                    <a:pt x="376" y="267"/>
                  </a:cubicBezTo>
                  <a:cubicBezTo>
                    <a:pt x="18" y="267"/>
                    <a:pt x="18" y="267"/>
                    <a:pt x="18" y="267"/>
                  </a:cubicBezTo>
                  <a:cubicBezTo>
                    <a:pt x="8" y="267"/>
                    <a:pt x="0" y="258"/>
                    <a:pt x="0" y="247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376" y="0"/>
                    <a:pt x="376" y="0"/>
                    <a:pt x="376" y="0"/>
                  </a:cubicBezTo>
                  <a:cubicBezTo>
                    <a:pt x="385" y="0"/>
                    <a:pt x="393" y="9"/>
                    <a:pt x="393" y="19"/>
                  </a:cubicBezTo>
                  <a:cubicBezTo>
                    <a:pt x="393" y="247"/>
                    <a:pt x="393" y="247"/>
                    <a:pt x="393" y="247"/>
                  </a:cubicBezTo>
                </a:path>
              </a:pathLst>
            </a:custGeom>
            <a:solidFill>
              <a:srgbClr val="2E3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8" name="Rectangle 280">
              <a:extLst>
                <a:ext uri="{FF2B5EF4-FFF2-40B4-BE49-F238E27FC236}">
                  <a16:creationId xmlns:a16="http://schemas.microsoft.com/office/drawing/2014/main" id="{EC8AAA03-63ED-DED5-0970-1F8D20A60B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87095" y="3662127"/>
              <a:ext cx="5920031" cy="277914"/>
            </a:xfrm>
            <a:prstGeom prst="rect">
              <a:avLst/>
            </a:prstGeom>
            <a:solidFill>
              <a:srgbClr val="2E35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9" name="Freeform 281">
              <a:extLst>
                <a:ext uri="{FF2B5EF4-FFF2-40B4-BE49-F238E27FC236}">
                  <a16:creationId xmlns:a16="http://schemas.microsoft.com/office/drawing/2014/main" id="{807A85DA-FFA2-A8BB-03BC-122818A4AC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811" y="610636"/>
              <a:ext cx="5496266" cy="3251591"/>
            </a:xfrm>
            <a:custGeom>
              <a:avLst/>
              <a:gdLst>
                <a:gd name="T0" fmla="*/ 365 w 365"/>
                <a:gd name="T1" fmla="*/ 234 h 245"/>
                <a:gd name="T2" fmla="*/ 354 w 365"/>
                <a:gd name="T3" fmla="*/ 245 h 245"/>
                <a:gd name="T4" fmla="*/ 11 w 365"/>
                <a:gd name="T5" fmla="*/ 245 h 245"/>
                <a:gd name="T6" fmla="*/ 0 w 365"/>
                <a:gd name="T7" fmla="*/ 234 h 245"/>
                <a:gd name="T8" fmla="*/ 0 w 365"/>
                <a:gd name="T9" fmla="*/ 12 h 245"/>
                <a:gd name="T10" fmla="*/ 11 w 365"/>
                <a:gd name="T11" fmla="*/ 0 h 245"/>
                <a:gd name="T12" fmla="*/ 354 w 365"/>
                <a:gd name="T13" fmla="*/ 0 h 245"/>
                <a:gd name="T14" fmla="*/ 365 w 365"/>
                <a:gd name="T15" fmla="*/ 12 h 245"/>
                <a:gd name="T16" fmla="*/ 365 w 365"/>
                <a:gd name="T17" fmla="*/ 234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5" h="245">
                  <a:moveTo>
                    <a:pt x="365" y="234"/>
                  </a:moveTo>
                  <a:cubicBezTo>
                    <a:pt x="365" y="240"/>
                    <a:pt x="360" y="245"/>
                    <a:pt x="354" y="245"/>
                  </a:cubicBezTo>
                  <a:cubicBezTo>
                    <a:pt x="11" y="245"/>
                    <a:pt x="11" y="245"/>
                    <a:pt x="11" y="245"/>
                  </a:cubicBezTo>
                  <a:cubicBezTo>
                    <a:pt x="5" y="245"/>
                    <a:pt x="0" y="240"/>
                    <a:pt x="0" y="23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5" y="0"/>
                    <a:pt x="11" y="0"/>
                  </a:cubicBezTo>
                  <a:cubicBezTo>
                    <a:pt x="354" y="0"/>
                    <a:pt x="354" y="0"/>
                    <a:pt x="354" y="0"/>
                  </a:cubicBezTo>
                  <a:cubicBezTo>
                    <a:pt x="360" y="0"/>
                    <a:pt x="365" y="6"/>
                    <a:pt x="365" y="12"/>
                  </a:cubicBezTo>
                  <a:cubicBezTo>
                    <a:pt x="365" y="234"/>
                    <a:pt x="365" y="234"/>
                    <a:pt x="365" y="234"/>
                  </a:cubicBezTo>
                </a:path>
              </a:pathLst>
            </a:custGeom>
            <a:blipFill>
              <a:blip r:embed="rId5"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0" name="Rectangle 300">
              <a:extLst>
                <a:ext uri="{FF2B5EF4-FFF2-40B4-BE49-F238E27FC236}">
                  <a16:creationId xmlns:a16="http://schemas.microsoft.com/office/drawing/2014/main" id="{FB151B37-BB78-5603-F658-B999F0783C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3502" y="2055792"/>
              <a:ext cx="2409756" cy="1645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003522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55C498C-45ED-4F96-DC54-4BC94D878A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5C498C-45ED-4F96-DC54-4BC94D878A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platzhalter 8">
            <a:extLst>
              <a:ext uri="{FF2B5EF4-FFF2-40B4-BE49-F238E27FC236}">
                <a16:creationId xmlns:a16="http://schemas.microsoft.com/office/drawing/2014/main" id="{A8C902A4-EE56-9DCF-86D5-C40BFE7D6FC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43" t="31" b="31"/>
          <a:stretch/>
        </p:blipFill>
        <p:spPr>
          <a:xfrm>
            <a:off x="0" y="0"/>
            <a:ext cx="9144000" cy="4005296"/>
          </a:xfrm>
          <a:custGeom>
            <a:avLst/>
            <a:gdLst>
              <a:gd name="connsiteX0" fmla="*/ 0 w 9144000"/>
              <a:gd name="connsiteY0" fmla="*/ 0 h 3715200"/>
              <a:gd name="connsiteX1" fmla="*/ 9144000 w 9144000"/>
              <a:gd name="connsiteY1" fmla="*/ 0 h 3715200"/>
              <a:gd name="connsiteX2" fmla="*/ 9144000 w 9144000"/>
              <a:gd name="connsiteY2" fmla="*/ 3715200 h 3715200"/>
              <a:gd name="connsiteX3" fmla="*/ 5935980 w 9144000"/>
              <a:gd name="connsiteY3" fmla="*/ 3715200 h 3715200"/>
              <a:gd name="connsiteX4" fmla="*/ 5164968 w 9144000"/>
              <a:gd name="connsiteY4" fmla="*/ 3715200 h 3715200"/>
              <a:gd name="connsiteX5" fmla="*/ 1624358 w 9144000"/>
              <a:gd name="connsiteY5" fmla="*/ 3715200 h 3715200"/>
              <a:gd name="connsiteX6" fmla="*/ 1624358 w 9144000"/>
              <a:gd name="connsiteY6" fmla="*/ 3715200 h 3715200"/>
              <a:gd name="connsiteX7" fmla="*/ 1784351 w 9144000"/>
              <a:gd name="connsiteY7" fmla="*/ 3480152 h 3715200"/>
              <a:gd name="connsiteX8" fmla="*/ 1152128 w 9144000"/>
              <a:gd name="connsiteY8" fmla="*/ 3480152 h 3715200"/>
              <a:gd name="connsiteX9" fmla="*/ 1060429 w 9144000"/>
              <a:gd name="connsiteY9" fmla="*/ 3480152 h 3715200"/>
              <a:gd name="connsiteX10" fmla="*/ 1004494 w 9144000"/>
              <a:gd name="connsiteY10" fmla="*/ 3480152 h 3715200"/>
              <a:gd name="connsiteX11" fmla="*/ 80844 w 9144000"/>
              <a:gd name="connsiteY11" fmla="*/ 3480152 h 3715200"/>
              <a:gd name="connsiteX12" fmla="*/ 0 w 9144000"/>
              <a:gd name="connsiteY12" fmla="*/ 3480152 h 3715200"/>
              <a:gd name="connsiteX13" fmla="*/ 0 w 9144000"/>
              <a:gd name="connsiteY13" fmla="*/ 3473421 h 3715200"/>
              <a:gd name="connsiteX14" fmla="*/ 0 w 9144000"/>
              <a:gd name="connsiteY14" fmla="*/ 2689257 h 3715200"/>
              <a:gd name="connsiteX15" fmla="*/ 0 w 9144000"/>
              <a:gd name="connsiteY15" fmla="*/ 225978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44000" h="3715200">
                <a:moveTo>
                  <a:pt x="0" y="0"/>
                </a:moveTo>
                <a:lnTo>
                  <a:pt x="9144000" y="0"/>
                </a:lnTo>
                <a:lnTo>
                  <a:pt x="9144000" y="3715200"/>
                </a:lnTo>
                <a:lnTo>
                  <a:pt x="5935980" y="3715200"/>
                </a:lnTo>
                <a:lnTo>
                  <a:pt x="5164968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2689257"/>
                </a:lnTo>
                <a:lnTo>
                  <a:pt x="0" y="2259780"/>
                </a:lnTo>
                <a:close/>
              </a:path>
            </a:pathLst>
          </a:custGeom>
        </p:spPr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4A7C721-509F-47E8-BE23-E1952998734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/>
              <a:t>03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43669EF4-1A9D-2F6B-9358-C02C07B2052A}"/>
              </a:ext>
            </a:extLst>
          </p:cNvPr>
          <p:cNvSpPr txBox="1">
            <a:spLocks/>
          </p:cNvSpPr>
          <p:nvPr/>
        </p:nvSpPr>
        <p:spPr bwMode="gray">
          <a:xfrm>
            <a:off x="358776" y="1325106"/>
            <a:ext cx="4797424" cy="1093630"/>
          </a:xfrm>
          <a:prstGeom prst="roundRect">
            <a:avLst/>
          </a:prstGeom>
          <a:solidFill>
            <a:schemeClr val="bg1">
              <a:alpha val="85000"/>
            </a:schemeClr>
          </a:solidFill>
        </p:spPr>
        <p:txBody>
          <a:bodyPr vert="horz" wrap="square" lIns="360000" tIns="518400" rIns="6840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de-DE" sz="3200" b="0" kern="1200" cap="all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38163" indent="-268288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808038" indent="-269875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/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29413746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B5ABCD8A-8DAC-411C-A68A-B29B905ED2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7941" y="869506"/>
            <a:ext cx="2385810" cy="421315"/>
          </a:xfrm>
        </p:spPr>
        <p:txBody>
          <a:bodyPr/>
          <a:lstStyle/>
          <a:p>
            <a:r>
              <a:rPr lang="de-DE"/>
              <a:t>Vorstellung</a:t>
            </a:r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C2C83AD2-7AF6-4B6D-9934-39F9E08714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241247" y="1340745"/>
            <a:ext cx="2385810" cy="421315"/>
          </a:xfrm>
        </p:spPr>
        <p:txBody>
          <a:bodyPr/>
          <a:lstStyle/>
          <a:p>
            <a:r>
              <a:rPr lang="de-DE"/>
              <a:t>LIIMA der HPA</a:t>
            </a:r>
          </a:p>
        </p:txBody>
      </p:sp>
      <p:sp>
        <p:nvSpPr>
          <p:cNvPr id="36" name="Untertitel 35">
            <a:extLst>
              <a:ext uri="{FF2B5EF4-FFF2-40B4-BE49-F238E27FC236}">
                <a16:creationId xmlns:a16="http://schemas.microsoft.com/office/drawing/2014/main" id="{B87B0BEE-D177-4A22-B735-CDFACA92277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/>
              <a:t>Aktueller Stand des LIMA 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EA13E70A-063B-4DBC-B1B4-ED910F6053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01/2025</a:t>
            </a: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A6A6D4EE-8859-4A3A-9A5C-BEC034593E8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3" name="Grafik 2" descr="Ein Bild, das draußen, Wasserfahrzeug, Transport, Himmel enthält.&#10;&#10;KI-generierte Inhalte können fehlerhaft sein.">
            <a:extLst>
              <a:ext uri="{FF2B5EF4-FFF2-40B4-BE49-F238E27FC236}">
                <a16:creationId xmlns:a16="http://schemas.microsoft.com/office/drawing/2014/main" id="{57E10E6A-BD47-A19E-BFD5-0E5953A7BD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Textplatzhalter 36">
            <a:extLst>
              <a:ext uri="{FF2B5EF4-FFF2-40B4-BE49-F238E27FC236}">
                <a16:creationId xmlns:a16="http://schemas.microsoft.com/office/drawing/2014/main" id="{BD63797E-AC66-0DE7-F59B-B95534D906ED}"/>
              </a:ext>
            </a:extLst>
          </p:cNvPr>
          <p:cNvSpPr txBox="1">
            <a:spLocks/>
          </p:cNvSpPr>
          <p:nvPr/>
        </p:nvSpPr>
        <p:spPr>
          <a:xfrm>
            <a:off x="409030" y="1157636"/>
            <a:ext cx="5588360" cy="657554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116100" tIns="18900" rIns="108000" bIns="54000" rtlCol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2800" b="1" i="0" kern="120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2800" b="1" i="0" kern="1200" cap="all" baseline="0">
                <a:solidFill>
                  <a:srgbClr val="FFC000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2800" b="1" i="0" kern="1200" cap="all" baseline="0">
                <a:solidFill>
                  <a:srgbClr val="FFC00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2800" b="1" i="0" kern="1200" cap="all" baseline="0">
                <a:solidFill>
                  <a:srgbClr val="FFC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2800" b="1" i="0" kern="1200" cap="all" baseline="0">
                <a:solidFill>
                  <a:srgbClr val="FFC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/>
              <a:t>Infoveranstaltung</a:t>
            </a:r>
          </a:p>
          <a:p>
            <a:r>
              <a:rPr lang="de-DE" sz="1500"/>
              <a:t>LIMA - Das gemeinsame Lieferantenmanagement  </a:t>
            </a:r>
          </a:p>
        </p:txBody>
      </p:sp>
      <p:sp>
        <p:nvSpPr>
          <p:cNvPr id="5" name="Textplatzhalter 35">
            <a:extLst>
              <a:ext uri="{FF2B5EF4-FFF2-40B4-BE49-F238E27FC236}">
                <a16:creationId xmlns:a16="http://schemas.microsoft.com/office/drawing/2014/main" id="{C0F93FBE-D510-B06F-4589-B7E06E4050A5}"/>
              </a:ext>
            </a:extLst>
          </p:cNvPr>
          <p:cNvSpPr txBox="1">
            <a:spLocks/>
          </p:cNvSpPr>
          <p:nvPr/>
        </p:nvSpPr>
        <p:spPr>
          <a:xfrm>
            <a:off x="409031" y="636096"/>
            <a:ext cx="4267333" cy="47603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16100" tIns="18900" rIns="108000" bIns="54000" rtlCol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2800" b="1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2800" b="1" i="0" kern="1200" cap="all" baseline="0">
                <a:solidFill>
                  <a:srgbClr val="FFC000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2800" b="1" i="0" kern="1200" cap="all" baseline="0">
                <a:solidFill>
                  <a:srgbClr val="FFC000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2800" b="1" i="0" kern="1200" cap="all" baseline="0">
                <a:solidFill>
                  <a:srgbClr val="FFC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2800" b="1" i="0" kern="1200" cap="all" baseline="0">
                <a:solidFill>
                  <a:srgbClr val="FFC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/>
              <a:t>Vielen Dank!</a:t>
            </a:r>
          </a:p>
        </p:txBody>
      </p:sp>
    </p:spTree>
    <p:extLst>
      <p:ext uri="{BB962C8B-B14F-4D97-AF65-F5344CB8AC3E}">
        <p14:creationId xmlns:p14="http://schemas.microsoft.com/office/powerpoint/2010/main" val="4357300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55C498C-45ED-4F96-DC54-4BC94D878A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5C498C-45ED-4F96-DC54-4BC94D878A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platzhalter 8">
            <a:extLst>
              <a:ext uri="{FF2B5EF4-FFF2-40B4-BE49-F238E27FC236}">
                <a16:creationId xmlns:a16="http://schemas.microsoft.com/office/drawing/2014/main" id="{A8C902A4-EE56-9DCF-86D5-C40BFE7D6FC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43" t="31" b="31"/>
          <a:stretch/>
        </p:blipFill>
        <p:spPr>
          <a:xfrm>
            <a:off x="0" y="0"/>
            <a:ext cx="9144000" cy="4005296"/>
          </a:xfrm>
          <a:custGeom>
            <a:avLst/>
            <a:gdLst>
              <a:gd name="connsiteX0" fmla="*/ 0 w 9144000"/>
              <a:gd name="connsiteY0" fmla="*/ 0 h 3715200"/>
              <a:gd name="connsiteX1" fmla="*/ 9144000 w 9144000"/>
              <a:gd name="connsiteY1" fmla="*/ 0 h 3715200"/>
              <a:gd name="connsiteX2" fmla="*/ 9144000 w 9144000"/>
              <a:gd name="connsiteY2" fmla="*/ 3715200 h 3715200"/>
              <a:gd name="connsiteX3" fmla="*/ 5935980 w 9144000"/>
              <a:gd name="connsiteY3" fmla="*/ 3715200 h 3715200"/>
              <a:gd name="connsiteX4" fmla="*/ 5164968 w 9144000"/>
              <a:gd name="connsiteY4" fmla="*/ 3715200 h 3715200"/>
              <a:gd name="connsiteX5" fmla="*/ 1624358 w 9144000"/>
              <a:gd name="connsiteY5" fmla="*/ 3715200 h 3715200"/>
              <a:gd name="connsiteX6" fmla="*/ 1624358 w 9144000"/>
              <a:gd name="connsiteY6" fmla="*/ 3715200 h 3715200"/>
              <a:gd name="connsiteX7" fmla="*/ 1784351 w 9144000"/>
              <a:gd name="connsiteY7" fmla="*/ 3480152 h 3715200"/>
              <a:gd name="connsiteX8" fmla="*/ 1152128 w 9144000"/>
              <a:gd name="connsiteY8" fmla="*/ 3480152 h 3715200"/>
              <a:gd name="connsiteX9" fmla="*/ 1060429 w 9144000"/>
              <a:gd name="connsiteY9" fmla="*/ 3480152 h 3715200"/>
              <a:gd name="connsiteX10" fmla="*/ 1004494 w 9144000"/>
              <a:gd name="connsiteY10" fmla="*/ 3480152 h 3715200"/>
              <a:gd name="connsiteX11" fmla="*/ 80844 w 9144000"/>
              <a:gd name="connsiteY11" fmla="*/ 3480152 h 3715200"/>
              <a:gd name="connsiteX12" fmla="*/ 0 w 9144000"/>
              <a:gd name="connsiteY12" fmla="*/ 3480152 h 3715200"/>
              <a:gd name="connsiteX13" fmla="*/ 0 w 9144000"/>
              <a:gd name="connsiteY13" fmla="*/ 3473421 h 3715200"/>
              <a:gd name="connsiteX14" fmla="*/ 0 w 9144000"/>
              <a:gd name="connsiteY14" fmla="*/ 2689257 h 3715200"/>
              <a:gd name="connsiteX15" fmla="*/ 0 w 9144000"/>
              <a:gd name="connsiteY15" fmla="*/ 225978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44000" h="3715200">
                <a:moveTo>
                  <a:pt x="0" y="0"/>
                </a:moveTo>
                <a:lnTo>
                  <a:pt x="9144000" y="0"/>
                </a:lnTo>
                <a:lnTo>
                  <a:pt x="9144000" y="3715200"/>
                </a:lnTo>
                <a:lnTo>
                  <a:pt x="5935980" y="3715200"/>
                </a:lnTo>
                <a:lnTo>
                  <a:pt x="5164968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2689257"/>
                </a:lnTo>
                <a:lnTo>
                  <a:pt x="0" y="2259780"/>
                </a:lnTo>
                <a:close/>
              </a:path>
            </a:pathLst>
          </a:custGeom>
        </p:spPr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4A7C721-509F-47E8-BE23-E1952998734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/>
              <a:t>01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43669EF4-1A9D-2F6B-9358-C02C07B2052A}"/>
              </a:ext>
            </a:extLst>
          </p:cNvPr>
          <p:cNvSpPr txBox="1">
            <a:spLocks/>
          </p:cNvSpPr>
          <p:nvPr/>
        </p:nvSpPr>
        <p:spPr bwMode="gray">
          <a:xfrm>
            <a:off x="358776" y="1325106"/>
            <a:ext cx="4797424" cy="1093630"/>
          </a:xfrm>
          <a:prstGeom prst="roundRect">
            <a:avLst/>
          </a:prstGeom>
          <a:solidFill>
            <a:schemeClr val="bg1">
              <a:alpha val="85000"/>
            </a:schemeClr>
          </a:solidFill>
        </p:spPr>
        <p:txBody>
          <a:bodyPr vert="horz" wrap="square" lIns="360000" tIns="518400" rIns="11520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de-DE" sz="3200" b="0" kern="1200" cap="all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38163" indent="-268288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808038" indent="-269875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/>
              <a:t>Begrüßung &amp; Vorstellung</a:t>
            </a:r>
          </a:p>
        </p:txBody>
      </p:sp>
    </p:spTree>
    <p:extLst>
      <p:ext uri="{BB962C8B-B14F-4D97-AF65-F5344CB8AC3E}">
        <p14:creationId xmlns:p14="http://schemas.microsoft.com/office/powerpoint/2010/main" val="1110015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D0D617A6-5AD4-EE50-3C55-0739A6AA36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4396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D617A6-5AD4-EE50-3C55-0739A6AA36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6" name="Grafik 35">
            <a:extLst>
              <a:ext uri="{FF2B5EF4-FFF2-40B4-BE49-F238E27FC236}">
                <a16:creationId xmlns:a16="http://schemas.microsoft.com/office/drawing/2014/main" id="{A155433F-C787-FD19-748C-D00F1C5254BE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9534" r="12325"/>
          <a:stretch/>
        </p:blipFill>
        <p:spPr>
          <a:xfrm>
            <a:off x="2471680" y="1242643"/>
            <a:ext cx="1259937" cy="153085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C7CFCB7-69CC-DC32-D38B-4C2AF15B15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55825"/>
            <a:ext cx="8297863" cy="249299"/>
          </a:xfrm>
        </p:spPr>
        <p:txBody>
          <a:bodyPr vert="horz"/>
          <a:lstStyle/>
          <a:p>
            <a:r>
              <a:rPr lang="de-DE" sz="1800" b="1"/>
              <a:t>Vorstellun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7FDDE3D-2C3E-BE6E-BB15-83C5F69814E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63C361D-6D9E-4F98-8831-48736655B334}" type="slidenum">
              <a:rPr lang="en-US" smtClean="0"/>
              <a:pPr/>
              <a:t>3</a:t>
            </a:fld>
            <a:endParaRPr lang="en-US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164C8E89-271C-7BB4-09A3-3AB6FCDF652C}"/>
              </a:ext>
            </a:extLst>
          </p:cNvPr>
          <p:cNvGrpSpPr/>
          <p:nvPr/>
        </p:nvGrpSpPr>
        <p:grpSpPr>
          <a:xfrm>
            <a:off x="4198362" y="1237327"/>
            <a:ext cx="1259938" cy="1527067"/>
            <a:chOff x="3136739" y="1493291"/>
            <a:chExt cx="1617184" cy="2181991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69915DC8-10D1-2E7E-B895-35FF80C34971}"/>
                </a:ext>
              </a:extLst>
            </p:cNvPr>
            <p:cNvSpPr/>
            <p:nvPr/>
          </p:nvSpPr>
          <p:spPr>
            <a:xfrm>
              <a:off x="3136739" y="1493291"/>
              <a:ext cx="1617184" cy="2181991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194F8CA7-76CC-9F41-9641-5AA2A4D6E40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r="14016" b="6310"/>
            <a:stretch>
              <a:fillRect/>
            </a:stretch>
          </p:blipFill>
          <p:spPr>
            <a:xfrm>
              <a:off x="3223407" y="1557413"/>
              <a:ext cx="1530516" cy="2117869"/>
            </a:xfrm>
            <a:custGeom>
              <a:avLst/>
              <a:gdLst>
                <a:gd name="connsiteX0" fmla="*/ 0 w 1530516"/>
                <a:gd name="connsiteY0" fmla="*/ 0 h 2117869"/>
                <a:gd name="connsiteX1" fmla="*/ 1530516 w 1530516"/>
                <a:gd name="connsiteY1" fmla="*/ 0 h 2117869"/>
                <a:gd name="connsiteX2" fmla="*/ 1530516 w 1530516"/>
                <a:gd name="connsiteY2" fmla="*/ 2117869 h 2117869"/>
                <a:gd name="connsiteX3" fmla="*/ 0 w 1530516"/>
                <a:gd name="connsiteY3" fmla="*/ 2117869 h 2117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0516" h="2117869">
                  <a:moveTo>
                    <a:pt x="0" y="0"/>
                  </a:moveTo>
                  <a:lnTo>
                    <a:pt x="1530516" y="0"/>
                  </a:lnTo>
                  <a:lnTo>
                    <a:pt x="1530516" y="2117869"/>
                  </a:lnTo>
                  <a:lnTo>
                    <a:pt x="0" y="2117869"/>
                  </a:lnTo>
                  <a:close/>
                </a:path>
              </a:pathLst>
            </a:custGeom>
          </p:spPr>
        </p:pic>
      </p:grpSp>
      <p:pic>
        <p:nvPicPr>
          <p:cNvPr id="23" name="Grafik 22">
            <a:extLst>
              <a:ext uri="{FF2B5EF4-FFF2-40B4-BE49-F238E27FC236}">
                <a16:creationId xmlns:a16="http://schemas.microsoft.com/office/drawing/2014/main" id="{F18D2BD2-7D24-99B1-3B75-DFE02D703E8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11940" y="1250326"/>
            <a:ext cx="1229229" cy="1515484"/>
          </a:xfrm>
          <a:prstGeom prst="rect">
            <a:avLst/>
          </a:prstGeom>
        </p:spPr>
      </p:pic>
      <p:sp>
        <p:nvSpPr>
          <p:cNvPr id="29" name="Rechteck: obere Ecken abgerundet 28">
            <a:extLst>
              <a:ext uri="{FF2B5EF4-FFF2-40B4-BE49-F238E27FC236}">
                <a16:creationId xmlns:a16="http://schemas.microsoft.com/office/drawing/2014/main" id="{7FEB0CFF-B126-188C-B381-CA4413170A3A}"/>
              </a:ext>
            </a:extLst>
          </p:cNvPr>
          <p:cNvSpPr/>
          <p:nvPr/>
        </p:nvSpPr>
        <p:spPr>
          <a:xfrm>
            <a:off x="5350640" y="3132505"/>
            <a:ext cx="1254898" cy="308906"/>
          </a:xfrm>
          <a:prstGeom prst="round2Same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Rechteck: obere Ecken abgerundet 30">
            <a:extLst>
              <a:ext uri="{FF2B5EF4-FFF2-40B4-BE49-F238E27FC236}">
                <a16:creationId xmlns:a16="http://schemas.microsoft.com/office/drawing/2014/main" id="{B24779D5-0970-669A-4162-9CD274E6C916}"/>
              </a:ext>
            </a:extLst>
          </p:cNvPr>
          <p:cNvSpPr/>
          <p:nvPr/>
        </p:nvSpPr>
        <p:spPr>
          <a:xfrm>
            <a:off x="4504799" y="2515094"/>
            <a:ext cx="998237" cy="249300"/>
          </a:xfrm>
          <a:prstGeom prst="round2Same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Text Box 6">
            <a:extLst>
              <a:ext uri="{FF2B5EF4-FFF2-40B4-BE49-F238E27FC236}">
                <a16:creationId xmlns:a16="http://schemas.microsoft.com/office/drawing/2014/main" id="{DD51A403-3CAD-5ACE-1CDF-3950B98A794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008251" y="3667946"/>
            <a:ext cx="1326526" cy="743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2695575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2695575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2695575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2695575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0" hangingPunct="0">
              <a:lnSpc>
                <a:spcPct val="105000"/>
              </a:lnSpc>
            </a:pPr>
            <a:endParaRPr lang="de-DE" altLang="de-DE" sz="900">
              <a:solidFill>
                <a:srgbClr val="000000"/>
              </a:solidFill>
            </a:endParaRPr>
          </a:p>
        </p:txBody>
      </p:sp>
      <p:sp>
        <p:nvSpPr>
          <p:cNvPr id="38" name="Text Box 6">
            <a:extLst>
              <a:ext uri="{FF2B5EF4-FFF2-40B4-BE49-F238E27FC236}">
                <a16:creationId xmlns:a16="http://schemas.microsoft.com/office/drawing/2014/main" id="{DCC24F0C-3B8E-3EFB-F73F-AD4F90E4EF0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260730" y="3003958"/>
            <a:ext cx="1725545" cy="743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t"/>
          <a:lstStyle>
            <a:lvl1pPr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2695575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2695575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2695575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2695575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0" hangingPunct="0">
              <a:lnSpc>
                <a:spcPct val="105000"/>
              </a:lnSpc>
            </a:pPr>
            <a:r>
              <a:rPr lang="de-DE" altLang="de-DE" sz="1000" b="1"/>
              <a:t>Kerstin Müller (HPA)</a:t>
            </a:r>
          </a:p>
          <a:p>
            <a:pPr algn="ctr" eaLnBrk="0" hangingPunct="0">
              <a:lnSpc>
                <a:spcPct val="105000"/>
              </a:lnSpc>
            </a:pPr>
            <a:endParaRPr lang="de-DE" altLang="de-DE" sz="1000" b="1"/>
          </a:p>
          <a:p>
            <a:pPr algn="ctr" eaLnBrk="0" hangingPunct="0">
              <a:lnSpc>
                <a:spcPct val="105000"/>
              </a:lnSpc>
            </a:pPr>
            <a:r>
              <a:rPr lang="de-DE" altLang="de-DE" sz="1000">
                <a:latin typeface="Arial"/>
                <a:cs typeface="Arial"/>
              </a:rPr>
              <a:t>Strategischer Einkauf</a:t>
            </a:r>
          </a:p>
          <a:p>
            <a:pPr algn="ctr">
              <a:lnSpc>
                <a:spcPct val="105000"/>
              </a:lnSpc>
            </a:pPr>
            <a:r>
              <a:rPr lang="de-DE" sz="1000">
                <a:latin typeface="Arial"/>
                <a:cs typeface="Arial"/>
              </a:rPr>
              <a:t>Leitung</a:t>
            </a:r>
            <a:endParaRPr lang="de-DE" sz="1000"/>
          </a:p>
          <a:p>
            <a:pPr algn="ctr" eaLnBrk="0" hangingPunct="0">
              <a:lnSpc>
                <a:spcPct val="105000"/>
              </a:lnSpc>
            </a:pPr>
            <a:r>
              <a:rPr lang="de-DE" altLang="de-DE" sz="1000"/>
              <a:t>Lieferantensteuerung </a:t>
            </a:r>
          </a:p>
        </p:txBody>
      </p:sp>
      <p:sp>
        <p:nvSpPr>
          <p:cNvPr id="40" name="Text Box 6">
            <a:extLst>
              <a:ext uri="{FF2B5EF4-FFF2-40B4-BE49-F238E27FC236}">
                <a16:creationId xmlns:a16="http://schemas.microsoft.com/office/drawing/2014/main" id="{72191F97-392B-0D25-D9C5-083BFA20DA2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709619" y="3008337"/>
            <a:ext cx="1725545" cy="743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/>
          <a:lstStyle>
            <a:lvl1pPr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2695575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2695575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2695575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2695575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0" hangingPunct="0">
              <a:lnSpc>
                <a:spcPct val="105000"/>
              </a:lnSpc>
            </a:pPr>
            <a:r>
              <a:rPr lang="de-DE" altLang="de-DE" sz="1000" b="1"/>
              <a:t>Marc Schröder (HNE)</a:t>
            </a:r>
          </a:p>
          <a:p>
            <a:pPr algn="ctr" eaLnBrk="0" hangingPunct="0">
              <a:lnSpc>
                <a:spcPct val="105000"/>
              </a:lnSpc>
            </a:pPr>
            <a:endParaRPr lang="de-DE" altLang="de-DE" sz="1000" b="1"/>
          </a:p>
          <a:p>
            <a:pPr algn="ctr">
              <a:lnSpc>
                <a:spcPct val="105000"/>
              </a:lnSpc>
            </a:pPr>
            <a:r>
              <a:rPr lang="de-DE" sz="1000">
                <a:latin typeface="Arial"/>
                <a:cs typeface="Arial"/>
              </a:rPr>
              <a:t>Leiter Einkauf Netzbau/ Logistik/ Material </a:t>
            </a:r>
          </a:p>
          <a:p>
            <a:pPr algn="ctr" eaLnBrk="0" hangingPunct="0">
              <a:lnSpc>
                <a:spcPct val="105000"/>
              </a:lnSpc>
            </a:pPr>
            <a:r>
              <a:rPr lang="de-DE" altLang="de-DE" sz="1000">
                <a:latin typeface="Arial"/>
                <a:cs typeface="Arial"/>
              </a:rPr>
              <a:t>Betrieb Gasnetz</a:t>
            </a:r>
          </a:p>
        </p:txBody>
      </p: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3A792F96-6D91-D333-1ECA-0CCCE628EACC}"/>
              </a:ext>
            </a:extLst>
          </p:cNvPr>
          <p:cNvCxnSpPr/>
          <p:nvPr/>
        </p:nvCxnSpPr>
        <p:spPr>
          <a:xfrm>
            <a:off x="2159857" y="958034"/>
            <a:ext cx="0" cy="321938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Grafik 44">
            <a:extLst>
              <a:ext uri="{FF2B5EF4-FFF2-40B4-BE49-F238E27FC236}">
                <a16:creationId xmlns:a16="http://schemas.microsoft.com/office/drawing/2014/main" id="{38812105-3299-595F-FE64-4F57B626679F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7604" r="9322"/>
          <a:stretch/>
        </p:blipFill>
        <p:spPr>
          <a:xfrm>
            <a:off x="622422" y="1242380"/>
            <a:ext cx="1200505" cy="1548775"/>
          </a:xfrm>
          <a:prstGeom prst="rect">
            <a:avLst/>
          </a:prstGeom>
        </p:spPr>
      </p:pic>
      <p:sp>
        <p:nvSpPr>
          <p:cNvPr id="3" name="Rechteck: obere Ecken abgerundet 2">
            <a:extLst>
              <a:ext uri="{FF2B5EF4-FFF2-40B4-BE49-F238E27FC236}">
                <a16:creationId xmlns:a16="http://schemas.microsoft.com/office/drawing/2014/main" id="{09D2D280-155D-8CCB-D3B1-FCC945358655}"/>
              </a:ext>
            </a:extLst>
          </p:cNvPr>
          <p:cNvSpPr/>
          <p:nvPr/>
        </p:nvSpPr>
        <p:spPr>
          <a:xfrm>
            <a:off x="2982094" y="2513429"/>
            <a:ext cx="762628" cy="249299"/>
          </a:xfrm>
          <a:prstGeom prst="round2Same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FA14BA8B-6EEC-C683-CEA4-DBB747A0B23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78564" y="2544612"/>
            <a:ext cx="435534" cy="194451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FAF9AC4A-49EF-893A-BCA5-EFAE1878F8A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0294" y="2539296"/>
            <a:ext cx="724533" cy="179303"/>
          </a:xfrm>
          <a:prstGeom prst="rect">
            <a:avLst/>
          </a:prstGeom>
        </p:spPr>
      </p:pic>
      <p:sp>
        <p:nvSpPr>
          <p:cNvPr id="7" name="Rechteck: obere Ecken abgerundet 6">
            <a:extLst>
              <a:ext uri="{FF2B5EF4-FFF2-40B4-BE49-F238E27FC236}">
                <a16:creationId xmlns:a16="http://schemas.microsoft.com/office/drawing/2014/main" id="{E7AA6415-FED0-65D8-DFB1-D8337595831B}"/>
              </a:ext>
            </a:extLst>
          </p:cNvPr>
          <p:cNvSpPr/>
          <p:nvPr/>
        </p:nvSpPr>
        <p:spPr>
          <a:xfrm>
            <a:off x="5993182" y="2418328"/>
            <a:ext cx="1229229" cy="342079"/>
          </a:xfrm>
          <a:prstGeom prst="round2Same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772B3E9-6A66-2A9C-DF1D-754E4440B3F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2" t="1" b="-1"/>
          <a:stretch/>
        </p:blipFill>
        <p:spPr>
          <a:xfrm>
            <a:off x="6021229" y="2413566"/>
            <a:ext cx="696486" cy="179303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32552E5F-4363-B30E-0D10-597C6800385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82174" y="2582457"/>
            <a:ext cx="652340" cy="182799"/>
          </a:xfrm>
          <a:prstGeom prst="rect">
            <a:avLst/>
          </a:prstGeom>
        </p:spPr>
      </p:pic>
      <p:sp>
        <p:nvSpPr>
          <p:cNvPr id="8" name="Rechteck: obere Ecken abgerundet 7">
            <a:extLst>
              <a:ext uri="{FF2B5EF4-FFF2-40B4-BE49-F238E27FC236}">
                <a16:creationId xmlns:a16="http://schemas.microsoft.com/office/drawing/2014/main" id="{74E6D30A-A5B2-A215-16E9-B9C6B7E96C01}"/>
              </a:ext>
            </a:extLst>
          </p:cNvPr>
          <p:cNvSpPr/>
          <p:nvPr/>
        </p:nvSpPr>
        <p:spPr>
          <a:xfrm>
            <a:off x="1086136" y="2536544"/>
            <a:ext cx="762628" cy="249299"/>
          </a:xfrm>
          <a:prstGeom prst="round2Same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BD8DC33-5081-E749-25C8-EC46C40AFD2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82606" y="2567727"/>
            <a:ext cx="435534" cy="194451"/>
          </a:xfrm>
          <a:prstGeom prst="rect">
            <a:avLst/>
          </a:prstGeom>
        </p:spPr>
      </p:pic>
      <p:sp>
        <p:nvSpPr>
          <p:cNvPr id="11" name="Text Box 6">
            <a:extLst>
              <a:ext uri="{FF2B5EF4-FFF2-40B4-BE49-F238E27FC236}">
                <a16:creationId xmlns:a16="http://schemas.microsoft.com/office/drawing/2014/main" id="{D102EB2D-B7A8-930C-A2E5-7B9AD38ECD0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50113" y="3011057"/>
            <a:ext cx="1725545" cy="743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2695575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2695575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2695575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2695575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0" hangingPunct="0">
              <a:lnSpc>
                <a:spcPct val="105000"/>
              </a:lnSpc>
            </a:pPr>
            <a:r>
              <a:rPr lang="de-DE" altLang="de-DE" sz="1000" b="1"/>
              <a:t>Helge Gevekoth (HPA)</a:t>
            </a:r>
          </a:p>
          <a:p>
            <a:pPr algn="ctr" eaLnBrk="0" hangingPunct="0">
              <a:lnSpc>
                <a:spcPct val="105000"/>
              </a:lnSpc>
            </a:pPr>
            <a:endParaRPr lang="de-DE" altLang="de-DE" sz="1000" b="1"/>
          </a:p>
          <a:p>
            <a:pPr algn="ctr" eaLnBrk="0" hangingPunct="0">
              <a:lnSpc>
                <a:spcPct val="105000"/>
              </a:lnSpc>
            </a:pPr>
            <a:r>
              <a:rPr lang="de-DE" altLang="de-DE" sz="1000"/>
              <a:t>Moderator</a:t>
            </a:r>
          </a:p>
        </p:txBody>
      </p:sp>
      <p:sp>
        <p:nvSpPr>
          <p:cNvPr id="13" name="Text Box 6">
            <a:extLst>
              <a:ext uri="{FF2B5EF4-FFF2-40B4-BE49-F238E27FC236}">
                <a16:creationId xmlns:a16="http://schemas.microsoft.com/office/drawing/2014/main" id="{4C1E948B-C4BB-0372-08FB-31457337826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197328" y="3008143"/>
            <a:ext cx="1648615" cy="743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/>
          <a:lstStyle>
            <a:lvl1pPr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2695575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2695575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2695575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2695575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0" hangingPunct="0">
              <a:lnSpc>
                <a:spcPct val="105000"/>
              </a:lnSpc>
            </a:pPr>
            <a:r>
              <a:rPr lang="de-DE" altLang="de-DE" sz="1000" b="1"/>
              <a:t>Jonas Gutzeit (HNE)</a:t>
            </a:r>
          </a:p>
          <a:p>
            <a:pPr algn="ctr" eaLnBrk="0" hangingPunct="0">
              <a:lnSpc>
                <a:spcPct val="105000"/>
              </a:lnSpc>
            </a:pPr>
            <a:endParaRPr lang="de-DE" altLang="de-DE" sz="1000" b="1"/>
          </a:p>
          <a:p>
            <a:pPr algn="ctr" eaLnBrk="0" hangingPunct="0">
              <a:lnSpc>
                <a:spcPct val="105000"/>
              </a:lnSpc>
            </a:pPr>
            <a:r>
              <a:rPr lang="de-DE" altLang="de-DE" sz="1000">
                <a:latin typeface="Arial"/>
                <a:cs typeface="Arial"/>
              </a:rPr>
              <a:t>Leiter Beschaffungs-optimierung &amp; -steuerung Betrieb Stromnetz</a:t>
            </a:r>
          </a:p>
        </p:txBody>
      </p:sp>
      <p:pic>
        <p:nvPicPr>
          <p:cNvPr id="15" name="Bildplatzhalter 2">
            <a:extLst>
              <a:ext uri="{FF2B5EF4-FFF2-40B4-BE49-F238E27FC236}">
                <a16:creationId xmlns:a16="http://schemas.microsoft.com/office/drawing/2014/main" id="{0B029AC9-6EF1-472A-A57B-85DB30559478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l="11310" r="3683"/>
          <a:stretch/>
        </p:blipFill>
        <p:spPr>
          <a:xfrm>
            <a:off x="7594809" y="1233537"/>
            <a:ext cx="1266487" cy="1534645"/>
          </a:xfrm>
          <a:prstGeom prst="rect">
            <a:avLst/>
          </a:prstGeom>
        </p:spPr>
      </p:pic>
      <p:sp>
        <p:nvSpPr>
          <p:cNvPr id="16" name="Rechteck: obere Ecken abgerundet 15">
            <a:extLst>
              <a:ext uri="{FF2B5EF4-FFF2-40B4-BE49-F238E27FC236}">
                <a16:creationId xmlns:a16="http://schemas.microsoft.com/office/drawing/2014/main" id="{121CDA5D-8F14-2D26-B4F2-B7441E0B50FE}"/>
              </a:ext>
            </a:extLst>
          </p:cNvPr>
          <p:cNvSpPr/>
          <p:nvPr/>
        </p:nvSpPr>
        <p:spPr>
          <a:xfrm>
            <a:off x="7863059" y="2513429"/>
            <a:ext cx="998237" cy="249300"/>
          </a:xfrm>
          <a:prstGeom prst="round2Same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91795AD9-8086-9B1A-AB43-59CF146F7F7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8554" y="2537631"/>
            <a:ext cx="724533" cy="179303"/>
          </a:xfrm>
          <a:prstGeom prst="rect">
            <a:avLst/>
          </a:prstGeom>
        </p:spPr>
      </p:pic>
      <p:sp>
        <p:nvSpPr>
          <p:cNvPr id="18" name="Text Box 6">
            <a:extLst>
              <a:ext uri="{FF2B5EF4-FFF2-40B4-BE49-F238E27FC236}">
                <a16:creationId xmlns:a16="http://schemas.microsoft.com/office/drawing/2014/main" id="{5E099DA6-4B35-A5ED-5FB6-9DB8159A909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365279" y="3010659"/>
            <a:ext cx="1725545" cy="743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t"/>
          <a:lstStyle>
            <a:lvl1pPr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2695575"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2695575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2695575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2695575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2695575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568325" algn="r"/>
                <a:tab pos="657225" algn="l"/>
              </a:tabLs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0" hangingPunct="0">
              <a:lnSpc>
                <a:spcPct val="105000"/>
              </a:lnSpc>
            </a:pPr>
            <a:r>
              <a:rPr lang="de-DE" altLang="de-DE" sz="1000" b="1"/>
              <a:t>Finn Ryterski (HNE)</a:t>
            </a:r>
          </a:p>
          <a:p>
            <a:pPr algn="ctr" eaLnBrk="0" hangingPunct="0">
              <a:lnSpc>
                <a:spcPct val="105000"/>
              </a:lnSpc>
            </a:pPr>
            <a:endParaRPr lang="de-DE" altLang="de-DE" sz="1000" b="1"/>
          </a:p>
          <a:p>
            <a:pPr algn="ctr" eaLnBrk="0" hangingPunct="0">
              <a:lnSpc>
                <a:spcPct val="105000"/>
              </a:lnSpc>
            </a:pPr>
            <a:r>
              <a:rPr lang="de-DE" altLang="de-DE" sz="1000"/>
              <a:t>Referent Einkaufssteuerung/ </a:t>
            </a:r>
          </a:p>
          <a:p>
            <a:pPr algn="ctr" eaLnBrk="0" hangingPunct="0">
              <a:lnSpc>
                <a:spcPct val="105000"/>
              </a:lnSpc>
            </a:pPr>
            <a:r>
              <a:rPr lang="de-DE" altLang="de-DE" sz="1000"/>
              <a:t>Lieferantenmanagement</a:t>
            </a:r>
          </a:p>
          <a:p>
            <a:pPr algn="ctr" eaLnBrk="0" hangingPunct="0">
              <a:lnSpc>
                <a:spcPct val="105000"/>
              </a:lnSpc>
            </a:pPr>
            <a:r>
              <a:rPr lang="de-DE" altLang="de-DE" sz="1000"/>
              <a:t> Betrieb Stromnetz</a:t>
            </a:r>
          </a:p>
        </p:txBody>
      </p:sp>
      <p:sp>
        <p:nvSpPr>
          <p:cNvPr id="24" name="Foliennummernplatzhalter 1">
            <a:extLst>
              <a:ext uri="{FF2B5EF4-FFF2-40B4-BE49-F238E27FC236}">
                <a16:creationId xmlns:a16="http://schemas.microsoft.com/office/drawing/2014/main" id="{6EF21EC0-A509-02BB-164C-BD5183E5D723}"/>
              </a:ext>
            </a:extLst>
          </p:cNvPr>
          <p:cNvSpPr txBox="1">
            <a:spLocks/>
          </p:cNvSpPr>
          <p:nvPr/>
        </p:nvSpPr>
        <p:spPr bwMode="gray">
          <a:xfrm>
            <a:off x="1103141" y="4933989"/>
            <a:ext cx="3063342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D9607335-8BDB-4D50-A1E6-11B757708170}" type="slidenum">
              <a:rPr lang="de-DE" smtClean="0"/>
              <a:pPr>
                <a:defRPr/>
              </a:pPr>
              <a:t>3</a:t>
            </a:fld>
            <a:r>
              <a:rPr lang="de-DE"/>
              <a:t> I Infoveranstaltung LIMA I 16.04.2025</a:t>
            </a:r>
          </a:p>
        </p:txBody>
      </p:sp>
    </p:spTree>
    <p:extLst>
      <p:ext uri="{BB962C8B-B14F-4D97-AF65-F5344CB8AC3E}">
        <p14:creationId xmlns:p14="http://schemas.microsoft.com/office/powerpoint/2010/main" val="13102809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8589526"/>
              </p:ext>
            </p:extLst>
          </p:nvPr>
        </p:nvGraphicFramePr>
        <p:xfrm>
          <a:off x="858541" y="483495"/>
          <a:ext cx="1289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58541" y="483495"/>
                        <a:ext cx="1289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2"/>
            </p:custDataLst>
          </p:nvPr>
        </p:nvSpPr>
        <p:spPr bwMode="auto">
          <a:xfrm>
            <a:off x="857251" y="482204"/>
            <a:ext cx="128984" cy="128984"/>
          </a:xfrm>
          <a:prstGeom prst="rect">
            <a:avLst/>
          </a:prstGeom>
          <a:solidFill>
            <a:srgbClr val="4C73A7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tx2"/>
              </a:buClr>
              <a:buFont typeface="Wingdings" pitchFamily="2" charset="2"/>
              <a:buNone/>
            </a:pPr>
            <a:endParaRPr lang="de-DE" sz="812" b="1">
              <a:solidFill>
                <a:schemeClr val="bg1"/>
              </a:solidFill>
              <a:latin typeface="Univers for KPMG" panose="020B0603020202020204" pitchFamily="34" charset="0"/>
              <a:sym typeface="Univers for KPMG" panose="020B0603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358775" y="255825"/>
            <a:ext cx="8297863" cy="276999"/>
          </a:xfrm>
        </p:spPr>
        <p:txBody>
          <a:bodyPr vert="horz"/>
          <a:lstStyle/>
          <a:p>
            <a:r>
              <a:rPr lang="de-DE" sz="2000" b="1">
                <a:solidFill>
                  <a:srgbClr val="003063"/>
                </a:solidFill>
              </a:rPr>
              <a:t>Agenda</a:t>
            </a:r>
          </a:p>
        </p:txBody>
      </p:sp>
      <p:sp>
        <p:nvSpPr>
          <p:cNvPr id="4" name="Rechteck 34">
            <a:extLst>
              <a:ext uri="{FF2B5EF4-FFF2-40B4-BE49-F238E27FC236}">
                <a16:creationId xmlns:a16="http://schemas.microsoft.com/office/drawing/2014/main" id="{40B802DF-9502-3C9C-3418-DA33A8BF180E}"/>
              </a:ext>
            </a:extLst>
          </p:cNvPr>
          <p:cNvSpPr/>
          <p:nvPr/>
        </p:nvSpPr>
        <p:spPr>
          <a:xfrm>
            <a:off x="859830" y="1080465"/>
            <a:ext cx="615596" cy="47903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0" rIns="81000" bIns="81000" rtlCol="0" anchor="ctr"/>
          <a:lstStyle/>
          <a:p>
            <a:pPr algn="ctr"/>
            <a:r>
              <a:rPr lang="de-DE" sz="2000">
                <a:solidFill>
                  <a:srgbClr val="003063"/>
                </a:solidFill>
                <a:latin typeface="+mj-lt"/>
              </a:rPr>
              <a:t>1</a:t>
            </a:r>
          </a:p>
        </p:txBody>
      </p:sp>
      <p:sp>
        <p:nvSpPr>
          <p:cNvPr id="6" name="PPTS_TOCEL_01_00">
            <a:hlinkClick r:id="rId7" action="ppaction://hlinksldjump"/>
            <a:extLst>
              <a:ext uri="{FF2B5EF4-FFF2-40B4-BE49-F238E27FC236}">
                <a16:creationId xmlns:a16="http://schemas.microsoft.com/office/drawing/2014/main" id="{1E0331B2-82E1-B647-89E7-DA3E5B7BBC3F}"/>
              </a:ext>
            </a:extLst>
          </p:cNvPr>
          <p:cNvSpPr/>
          <p:nvPr/>
        </p:nvSpPr>
        <p:spPr bwMode="gray">
          <a:xfrm>
            <a:off x="1566254" y="1080465"/>
            <a:ext cx="6717915" cy="4790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108000" tIns="40500" rIns="40500" bIns="135000" anchor="ctr"/>
          <a:lstStyle/>
          <a:p>
            <a:pPr>
              <a:spcAft>
                <a:spcPts val="437"/>
              </a:spcAft>
            </a:pPr>
            <a:r>
              <a:rPr lang="de-DE" sz="2000">
                <a:solidFill>
                  <a:srgbClr val="003063"/>
                </a:solidFill>
                <a:latin typeface="+mj-lt"/>
              </a:rPr>
              <a:t>Begrüßung &amp; Vorstellung				</a:t>
            </a:r>
          </a:p>
        </p:txBody>
      </p:sp>
      <p:sp>
        <p:nvSpPr>
          <p:cNvPr id="7" name="Rechteck 22">
            <a:extLst>
              <a:ext uri="{FF2B5EF4-FFF2-40B4-BE49-F238E27FC236}">
                <a16:creationId xmlns:a16="http://schemas.microsoft.com/office/drawing/2014/main" id="{6FE81465-32AD-F924-DB58-6A9465F006DF}"/>
              </a:ext>
            </a:extLst>
          </p:cNvPr>
          <p:cNvSpPr/>
          <p:nvPr/>
        </p:nvSpPr>
        <p:spPr>
          <a:xfrm>
            <a:off x="859830" y="2754251"/>
            <a:ext cx="615596" cy="47903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0" rIns="81000" bIns="81000" rtlCol="0" anchor="ctr"/>
          <a:lstStyle/>
          <a:p>
            <a:pPr algn="ctr"/>
            <a:r>
              <a:rPr lang="de-DE" sz="2000">
                <a:solidFill>
                  <a:srgbClr val="003063"/>
                </a:solidFill>
                <a:latin typeface="+mj-lt"/>
                <a:cs typeface="Arial"/>
              </a:rPr>
              <a:t>3</a:t>
            </a:r>
          </a:p>
        </p:txBody>
      </p:sp>
      <p:sp>
        <p:nvSpPr>
          <p:cNvPr id="14" name="PPTS_TOCEL_01_00">
            <a:hlinkClick r:id="rId7" action="ppaction://hlinksldjump"/>
            <a:extLst>
              <a:ext uri="{FF2B5EF4-FFF2-40B4-BE49-F238E27FC236}">
                <a16:creationId xmlns:a16="http://schemas.microsoft.com/office/drawing/2014/main" id="{F28BE4D0-4A41-47E1-FA0F-B3D7C4F01B2D}"/>
              </a:ext>
            </a:extLst>
          </p:cNvPr>
          <p:cNvSpPr/>
          <p:nvPr/>
        </p:nvSpPr>
        <p:spPr bwMode="gray">
          <a:xfrm>
            <a:off x="1566254" y="2754251"/>
            <a:ext cx="6717915" cy="4790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108000" tIns="40500" rIns="40500" bIns="135000" anchor="ctr"/>
          <a:lstStyle/>
          <a:p>
            <a:pPr>
              <a:spcAft>
                <a:spcPts val="437"/>
              </a:spcAft>
            </a:pPr>
            <a:r>
              <a:rPr lang="de-DE" sz="2000">
                <a:solidFill>
                  <a:srgbClr val="003063"/>
                </a:solidFill>
                <a:latin typeface="+mj-lt"/>
                <a:cs typeface="Arial"/>
              </a:rPr>
              <a:t>Fragen und Antworten</a:t>
            </a:r>
          </a:p>
        </p:txBody>
      </p:sp>
      <p:sp>
        <p:nvSpPr>
          <p:cNvPr id="21" name="Rechteck 52">
            <a:extLst>
              <a:ext uri="{FF2B5EF4-FFF2-40B4-BE49-F238E27FC236}">
                <a16:creationId xmlns:a16="http://schemas.microsoft.com/office/drawing/2014/main" id="{9CDFEEBD-ADA7-5C9B-FC79-30FD168BCFC7}"/>
              </a:ext>
            </a:extLst>
          </p:cNvPr>
          <p:cNvSpPr/>
          <p:nvPr/>
        </p:nvSpPr>
        <p:spPr>
          <a:xfrm>
            <a:off x="859830" y="1917358"/>
            <a:ext cx="615596" cy="47903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0" rIns="81000" bIns="81000" rtlCol="0" anchor="ctr"/>
          <a:lstStyle/>
          <a:p>
            <a:pPr algn="ctr"/>
            <a:r>
              <a:rPr lang="de-DE" sz="2000">
                <a:solidFill>
                  <a:srgbClr val="003063"/>
                </a:solidFill>
                <a:latin typeface="+mj-lt"/>
              </a:rPr>
              <a:t>2</a:t>
            </a:r>
          </a:p>
        </p:txBody>
      </p:sp>
      <p:sp>
        <p:nvSpPr>
          <p:cNvPr id="22" name="PPTS_TOCEL_01_00">
            <a:hlinkClick r:id="rId7" action="ppaction://hlinksldjump"/>
            <a:extLst>
              <a:ext uri="{FF2B5EF4-FFF2-40B4-BE49-F238E27FC236}">
                <a16:creationId xmlns:a16="http://schemas.microsoft.com/office/drawing/2014/main" id="{EA4C331A-6444-8E81-23AE-588C097EE523}"/>
              </a:ext>
            </a:extLst>
          </p:cNvPr>
          <p:cNvSpPr/>
          <p:nvPr/>
        </p:nvSpPr>
        <p:spPr bwMode="gray">
          <a:xfrm>
            <a:off x="1566254" y="1917358"/>
            <a:ext cx="6717915" cy="4790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108000" tIns="40500" rIns="40500" bIns="135000" anchor="ctr"/>
          <a:lstStyle/>
          <a:p>
            <a:pPr>
              <a:spcAft>
                <a:spcPts val="437"/>
              </a:spcAft>
            </a:pPr>
            <a:r>
              <a:rPr lang="de-DE" sz="2000">
                <a:solidFill>
                  <a:srgbClr val="003063"/>
                </a:solidFill>
                <a:latin typeface="+mj-lt"/>
              </a:rPr>
              <a:t>Projektüberblick &amp; Live Demo </a:t>
            </a:r>
            <a:endParaRPr lang="de-DE" sz="2000">
              <a:solidFill>
                <a:srgbClr val="003063"/>
              </a:solidFill>
              <a:latin typeface="+mj-lt"/>
              <a:cs typeface="Arial"/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BED8DFA-5277-E047-3D15-B70812B65E2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63C361D-6D9E-4F98-8831-48736655B334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8" name="Foliennummernplatzhalter 1">
            <a:extLst>
              <a:ext uri="{FF2B5EF4-FFF2-40B4-BE49-F238E27FC236}">
                <a16:creationId xmlns:a16="http://schemas.microsoft.com/office/drawing/2014/main" id="{D6CDA88B-0127-7F82-E74E-EE4FC75CD7A9}"/>
              </a:ext>
            </a:extLst>
          </p:cNvPr>
          <p:cNvSpPr txBox="1">
            <a:spLocks/>
          </p:cNvSpPr>
          <p:nvPr/>
        </p:nvSpPr>
        <p:spPr bwMode="gray">
          <a:xfrm>
            <a:off x="1103141" y="4933989"/>
            <a:ext cx="3063342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D9607335-8BDB-4D50-A1E6-11B757708170}" type="slidenum">
              <a:rPr lang="de-DE" smtClean="0"/>
              <a:pPr>
                <a:defRPr/>
              </a:pPr>
              <a:t>4</a:t>
            </a:fld>
            <a:r>
              <a:rPr lang="de-DE"/>
              <a:t> I Infoveranstaltung LIMA I 16.04.2025</a:t>
            </a:r>
          </a:p>
        </p:txBody>
      </p:sp>
    </p:spTree>
    <p:extLst>
      <p:ext uri="{BB962C8B-B14F-4D97-AF65-F5344CB8AC3E}">
        <p14:creationId xmlns:p14="http://schemas.microsoft.com/office/powerpoint/2010/main" val="42053050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55C498C-45ED-4F96-DC54-4BC94D878A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5161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5C498C-45ED-4F96-DC54-4BC94D878A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platzhalter 8">
            <a:extLst>
              <a:ext uri="{FF2B5EF4-FFF2-40B4-BE49-F238E27FC236}">
                <a16:creationId xmlns:a16="http://schemas.microsoft.com/office/drawing/2014/main" id="{A8C902A4-EE56-9DCF-86D5-C40BFE7D6FC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43" t="31" b="31"/>
          <a:stretch/>
        </p:blipFill>
        <p:spPr>
          <a:xfrm>
            <a:off x="0" y="0"/>
            <a:ext cx="9144000" cy="4005296"/>
          </a:xfrm>
          <a:custGeom>
            <a:avLst/>
            <a:gdLst>
              <a:gd name="connsiteX0" fmla="*/ 0 w 9144000"/>
              <a:gd name="connsiteY0" fmla="*/ 0 h 3715200"/>
              <a:gd name="connsiteX1" fmla="*/ 9144000 w 9144000"/>
              <a:gd name="connsiteY1" fmla="*/ 0 h 3715200"/>
              <a:gd name="connsiteX2" fmla="*/ 9144000 w 9144000"/>
              <a:gd name="connsiteY2" fmla="*/ 3715200 h 3715200"/>
              <a:gd name="connsiteX3" fmla="*/ 5935980 w 9144000"/>
              <a:gd name="connsiteY3" fmla="*/ 3715200 h 3715200"/>
              <a:gd name="connsiteX4" fmla="*/ 5164968 w 9144000"/>
              <a:gd name="connsiteY4" fmla="*/ 3715200 h 3715200"/>
              <a:gd name="connsiteX5" fmla="*/ 1624358 w 9144000"/>
              <a:gd name="connsiteY5" fmla="*/ 3715200 h 3715200"/>
              <a:gd name="connsiteX6" fmla="*/ 1624358 w 9144000"/>
              <a:gd name="connsiteY6" fmla="*/ 3715200 h 3715200"/>
              <a:gd name="connsiteX7" fmla="*/ 1784351 w 9144000"/>
              <a:gd name="connsiteY7" fmla="*/ 3480152 h 3715200"/>
              <a:gd name="connsiteX8" fmla="*/ 1152128 w 9144000"/>
              <a:gd name="connsiteY8" fmla="*/ 3480152 h 3715200"/>
              <a:gd name="connsiteX9" fmla="*/ 1060429 w 9144000"/>
              <a:gd name="connsiteY9" fmla="*/ 3480152 h 3715200"/>
              <a:gd name="connsiteX10" fmla="*/ 1004494 w 9144000"/>
              <a:gd name="connsiteY10" fmla="*/ 3480152 h 3715200"/>
              <a:gd name="connsiteX11" fmla="*/ 80844 w 9144000"/>
              <a:gd name="connsiteY11" fmla="*/ 3480152 h 3715200"/>
              <a:gd name="connsiteX12" fmla="*/ 0 w 9144000"/>
              <a:gd name="connsiteY12" fmla="*/ 3480152 h 3715200"/>
              <a:gd name="connsiteX13" fmla="*/ 0 w 9144000"/>
              <a:gd name="connsiteY13" fmla="*/ 3473421 h 3715200"/>
              <a:gd name="connsiteX14" fmla="*/ 0 w 9144000"/>
              <a:gd name="connsiteY14" fmla="*/ 2689257 h 3715200"/>
              <a:gd name="connsiteX15" fmla="*/ 0 w 9144000"/>
              <a:gd name="connsiteY15" fmla="*/ 225978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44000" h="3715200">
                <a:moveTo>
                  <a:pt x="0" y="0"/>
                </a:moveTo>
                <a:lnTo>
                  <a:pt x="9144000" y="0"/>
                </a:lnTo>
                <a:lnTo>
                  <a:pt x="9144000" y="3715200"/>
                </a:lnTo>
                <a:lnTo>
                  <a:pt x="5935980" y="3715200"/>
                </a:lnTo>
                <a:lnTo>
                  <a:pt x="5164968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2689257"/>
                </a:lnTo>
                <a:lnTo>
                  <a:pt x="0" y="2259780"/>
                </a:lnTo>
                <a:close/>
              </a:path>
            </a:pathLst>
          </a:custGeom>
        </p:spPr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4A7C721-509F-47E8-BE23-E1952998734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/>
              <a:t>02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43669EF4-1A9D-2F6B-9358-C02C07B2052A}"/>
              </a:ext>
            </a:extLst>
          </p:cNvPr>
          <p:cNvSpPr txBox="1">
            <a:spLocks/>
          </p:cNvSpPr>
          <p:nvPr/>
        </p:nvSpPr>
        <p:spPr bwMode="gray">
          <a:xfrm>
            <a:off x="358776" y="1325106"/>
            <a:ext cx="4797424" cy="1093630"/>
          </a:xfrm>
          <a:prstGeom prst="roundRect">
            <a:avLst/>
          </a:prstGeom>
          <a:solidFill>
            <a:schemeClr val="bg1">
              <a:alpha val="85000"/>
            </a:schemeClr>
          </a:solidFill>
        </p:spPr>
        <p:txBody>
          <a:bodyPr vert="horz" wrap="square" lIns="360000" tIns="518400" rIns="11520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de-DE" sz="3200" b="0" kern="1200" cap="all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38163" indent="-268288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808038" indent="-269875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/>
              <a:t>Projektüberblick &amp; LIVE </a:t>
            </a:r>
            <a:r>
              <a:rPr lang="de-DE" sz="2400" err="1"/>
              <a:t>demo</a:t>
            </a:r>
            <a:endParaRPr lang="de-DE" sz="2400"/>
          </a:p>
        </p:txBody>
      </p:sp>
    </p:spTree>
    <p:extLst>
      <p:ext uri="{BB962C8B-B14F-4D97-AF65-F5344CB8AC3E}">
        <p14:creationId xmlns:p14="http://schemas.microsoft.com/office/powerpoint/2010/main" val="27476484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think-cell data - do not delete" hidden="1">
            <a:extLst>
              <a:ext uri="{FF2B5EF4-FFF2-40B4-BE49-F238E27FC236}">
                <a16:creationId xmlns:a16="http://schemas.microsoft.com/office/drawing/2014/main" id="{1FB636A2-609A-04D3-2424-190CFAC709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8228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2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B636A2-609A-04D3-2424-190CFAC709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Grafik 24" descr="Nahaufnahme von Dokumenten und Diagrammen">
            <a:extLst>
              <a:ext uri="{FF2B5EF4-FFF2-40B4-BE49-F238E27FC236}">
                <a16:creationId xmlns:a16="http://schemas.microsoft.com/office/drawing/2014/main" id="{9AD52F44-A222-2C94-373A-552A99D7C366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38448"/>
          <a:stretch/>
        </p:blipFill>
        <p:spPr>
          <a:xfrm>
            <a:off x="4739857" y="0"/>
            <a:ext cx="4404143" cy="4770072"/>
          </a:xfrm>
          <a:prstGeom prst="rect">
            <a:avLst/>
          </a:prstGeom>
        </p:spPr>
      </p:pic>
      <p:pic>
        <p:nvPicPr>
          <p:cNvPr id="6" name="Grafik 5" descr="Mann analysiert Daten auf einem Bildschirm">
            <a:extLst>
              <a:ext uri="{FF2B5EF4-FFF2-40B4-BE49-F238E27FC236}">
                <a16:creationId xmlns:a16="http://schemas.microsoft.com/office/drawing/2014/main" id="{2A099168-E70E-2830-2DCB-8CADA9127D3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22240"/>
          <a:stretch/>
        </p:blipFill>
        <p:spPr>
          <a:xfrm>
            <a:off x="-25905" y="1"/>
            <a:ext cx="5561076" cy="4770072"/>
          </a:xfrm>
          <a:prstGeom prst="rect">
            <a:avLst/>
          </a:prstGeom>
        </p:spPr>
      </p:pic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191F2739-97E5-03D6-6C2C-DFE34276B2E4}"/>
              </a:ext>
            </a:extLst>
          </p:cNvPr>
          <p:cNvSpPr/>
          <p:nvPr/>
        </p:nvSpPr>
        <p:spPr>
          <a:xfrm>
            <a:off x="1412712" y="5716808"/>
            <a:ext cx="2674852" cy="1297667"/>
          </a:xfrm>
          <a:custGeom>
            <a:avLst/>
            <a:gdLst>
              <a:gd name="connsiteX0" fmla="*/ 258005 w 3742850"/>
              <a:gd name="connsiteY0" fmla="*/ 0 h 1548000"/>
              <a:gd name="connsiteX1" fmla="*/ 3742850 w 3742850"/>
              <a:gd name="connsiteY1" fmla="*/ 0 h 1548000"/>
              <a:gd name="connsiteX2" fmla="*/ 3455550 w 3742850"/>
              <a:gd name="connsiteY2" fmla="*/ 1548000 h 1548000"/>
              <a:gd name="connsiteX3" fmla="*/ 258005 w 3742850"/>
              <a:gd name="connsiteY3" fmla="*/ 1548000 h 1548000"/>
              <a:gd name="connsiteX4" fmla="*/ 0 w 3742850"/>
              <a:gd name="connsiteY4" fmla="*/ 1289995 h 1548000"/>
              <a:gd name="connsiteX5" fmla="*/ 0 w 3742850"/>
              <a:gd name="connsiteY5" fmla="*/ 258005 h 1548000"/>
              <a:gd name="connsiteX6" fmla="*/ 258005 w 3742850"/>
              <a:gd name="connsiteY6" fmla="*/ 0 h 15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42850" h="1548000">
                <a:moveTo>
                  <a:pt x="258005" y="0"/>
                </a:moveTo>
                <a:lnTo>
                  <a:pt x="3742850" y="0"/>
                </a:lnTo>
                <a:lnTo>
                  <a:pt x="3455550" y="1548000"/>
                </a:lnTo>
                <a:lnTo>
                  <a:pt x="258005" y="1548000"/>
                </a:lnTo>
                <a:cubicBezTo>
                  <a:pt x="115513" y="1548000"/>
                  <a:pt x="0" y="1432487"/>
                  <a:pt x="0" y="1289995"/>
                </a:cubicBezTo>
                <a:lnTo>
                  <a:pt x="0" y="258005"/>
                </a:lnTo>
                <a:cubicBezTo>
                  <a:pt x="0" y="115513"/>
                  <a:pt x="115513" y="0"/>
                  <a:pt x="258005" y="0"/>
                </a:cubicBezTo>
                <a:close/>
              </a:path>
            </a:pathLst>
          </a:custGeom>
          <a:solidFill>
            <a:srgbClr val="EFEFEF">
              <a:alpha val="95000"/>
            </a:srgbClr>
          </a:solidFill>
          <a:ln w="50800" cap="rnd">
            <a:noFill/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ctr">
            <a:noAutofit/>
          </a:bodyPr>
          <a:lstStyle/>
          <a:p>
            <a:pPr algn="l"/>
            <a:endParaRPr lang="de-DE" sz="1500" b="0" i="0"/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F46DC42-3185-8FC0-EDCC-B471B36C3E8B}"/>
              </a:ext>
            </a:extLst>
          </p:cNvPr>
          <p:cNvGrpSpPr/>
          <p:nvPr/>
        </p:nvGrpSpPr>
        <p:grpSpPr>
          <a:xfrm>
            <a:off x="593697" y="847666"/>
            <a:ext cx="3473272" cy="1200170"/>
            <a:chOff x="733789" y="874890"/>
            <a:chExt cx="3661559" cy="1548000"/>
          </a:xfrm>
        </p:grpSpPr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985FDAD3-11BA-CB5B-AC2E-31EA7A616408}"/>
                </a:ext>
              </a:extLst>
            </p:cNvPr>
            <p:cNvSpPr/>
            <p:nvPr/>
          </p:nvSpPr>
          <p:spPr>
            <a:xfrm>
              <a:off x="797322" y="874890"/>
              <a:ext cx="3598026" cy="1548000"/>
            </a:xfrm>
            <a:custGeom>
              <a:avLst/>
              <a:gdLst>
                <a:gd name="connsiteX0" fmla="*/ 258005 w 4300686"/>
                <a:gd name="connsiteY0" fmla="*/ 0 h 1548000"/>
                <a:gd name="connsiteX1" fmla="*/ 4300686 w 4300686"/>
                <a:gd name="connsiteY1" fmla="*/ 0 h 1548000"/>
                <a:gd name="connsiteX2" fmla="*/ 4010196 w 4300686"/>
                <a:gd name="connsiteY2" fmla="*/ 1548000 h 1548000"/>
                <a:gd name="connsiteX3" fmla="*/ 258005 w 4300686"/>
                <a:gd name="connsiteY3" fmla="*/ 1548000 h 1548000"/>
                <a:gd name="connsiteX4" fmla="*/ 0 w 4300686"/>
                <a:gd name="connsiteY4" fmla="*/ 1289995 h 1548000"/>
                <a:gd name="connsiteX5" fmla="*/ 0 w 4300686"/>
                <a:gd name="connsiteY5" fmla="*/ 258005 h 1548000"/>
                <a:gd name="connsiteX6" fmla="*/ 258005 w 4300686"/>
                <a:gd name="connsiteY6" fmla="*/ 0 h 154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00686" h="1548000">
                  <a:moveTo>
                    <a:pt x="258005" y="0"/>
                  </a:moveTo>
                  <a:lnTo>
                    <a:pt x="4300686" y="0"/>
                  </a:lnTo>
                  <a:lnTo>
                    <a:pt x="4010196" y="1548000"/>
                  </a:lnTo>
                  <a:lnTo>
                    <a:pt x="258005" y="1548000"/>
                  </a:lnTo>
                  <a:cubicBezTo>
                    <a:pt x="115513" y="1548000"/>
                    <a:pt x="0" y="1432487"/>
                    <a:pt x="0" y="1289995"/>
                  </a:cubicBezTo>
                  <a:lnTo>
                    <a:pt x="0" y="258005"/>
                  </a:lnTo>
                  <a:cubicBezTo>
                    <a:pt x="0" y="115513"/>
                    <a:pt x="115513" y="0"/>
                    <a:pt x="258005" y="0"/>
                  </a:cubicBezTo>
                  <a:close/>
                </a:path>
              </a:pathLst>
            </a:custGeom>
            <a:solidFill>
              <a:srgbClr val="EFEFEF">
                <a:alpha val="95000"/>
              </a:srgbClr>
            </a:solidFill>
            <a:ln w="50800" cap="rnd">
              <a:noFill/>
              <a:round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88000" tIns="288000" rIns="288000" bIns="288000" rtlCol="0" anchor="ctr">
              <a:noAutofit/>
            </a:bodyPr>
            <a:lstStyle/>
            <a:p>
              <a:pPr algn="l"/>
              <a:endParaRPr lang="de-DE" sz="1500" b="0" i="0"/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BB465511-97A8-A5F2-53F1-605DF398EB48}"/>
                </a:ext>
              </a:extLst>
            </p:cNvPr>
            <p:cNvSpPr txBox="1">
              <a:spLocks/>
            </p:cNvSpPr>
            <p:nvPr/>
          </p:nvSpPr>
          <p:spPr>
            <a:xfrm>
              <a:off x="733789" y="1325724"/>
              <a:ext cx="3208717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de-DE" sz="1400" b="1">
                  <a:solidFill>
                    <a:schemeClr val="accent1"/>
                  </a:solidFill>
                  <a:latin typeface="+mj-lt"/>
                </a:rPr>
                <a:t>Zentrales Datenmanagement von externen und internen</a:t>
              </a:r>
            </a:p>
            <a:p>
              <a:pPr algn="r"/>
              <a:r>
                <a:rPr lang="de-DE" sz="1400" b="1" i="0" baseline="0">
                  <a:solidFill>
                    <a:schemeClr val="accent1"/>
                  </a:solidFill>
                  <a:latin typeface="+mj-lt"/>
                </a:rPr>
                <a:t>Lieferanteninformationen</a:t>
              </a:r>
            </a:p>
          </p:txBody>
        </p:sp>
      </p:grpSp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888D6B6F-7D9F-5586-470E-2965A3310D40}"/>
              </a:ext>
            </a:extLst>
          </p:cNvPr>
          <p:cNvSpPr/>
          <p:nvPr/>
        </p:nvSpPr>
        <p:spPr>
          <a:xfrm>
            <a:off x="190364" y="3446508"/>
            <a:ext cx="3413006" cy="1200170"/>
          </a:xfrm>
          <a:custGeom>
            <a:avLst/>
            <a:gdLst>
              <a:gd name="connsiteX0" fmla="*/ 258005 w 4300686"/>
              <a:gd name="connsiteY0" fmla="*/ 0 h 1548000"/>
              <a:gd name="connsiteX1" fmla="*/ 4300686 w 4300686"/>
              <a:gd name="connsiteY1" fmla="*/ 0 h 1548000"/>
              <a:gd name="connsiteX2" fmla="*/ 4010196 w 4300686"/>
              <a:gd name="connsiteY2" fmla="*/ 1548000 h 1548000"/>
              <a:gd name="connsiteX3" fmla="*/ 258005 w 4300686"/>
              <a:gd name="connsiteY3" fmla="*/ 1548000 h 1548000"/>
              <a:gd name="connsiteX4" fmla="*/ 0 w 4300686"/>
              <a:gd name="connsiteY4" fmla="*/ 1289995 h 1548000"/>
              <a:gd name="connsiteX5" fmla="*/ 0 w 4300686"/>
              <a:gd name="connsiteY5" fmla="*/ 258005 h 1548000"/>
              <a:gd name="connsiteX6" fmla="*/ 258005 w 4300686"/>
              <a:gd name="connsiteY6" fmla="*/ 0 h 15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00686" h="1548000">
                <a:moveTo>
                  <a:pt x="258005" y="0"/>
                </a:moveTo>
                <a:lnTo>
                  <a:pt x="4300686" y="0"/>
                </a:lnTo>
                <a:lnTo>
                  <a:pt x="4010196" y="1548000"/>
                </a:lnTo>
                <a:lnTo>
                  <a:pt x="258005" y="1548000"/>
                </a:lnTo>
                <a:cubicBezTo>
                  <a:pt x="115513" y="1548000"/>
                  <a:pt x="0" y="1432487"/>
                  <a:pt x="0" y="1289995"/>
                </a:cubicBezTo>
                <a:lnTo>
                  <a:pt x="0" y="258005"/>
                </a:lnTo>
                <a:cubicBezTo>
                  <a:pt x="0" y="115513"/>
                  <a:pt x="115513" y="0"/>
                  <a:pt x="258005" y="0"/>
                </a:cubicBezTo>
                <a:close/>
              </a:path>
            </a:pathLst>
          </a:custGeom>
          <a:solidFill>
            <a:srgbClr val="EFEFEF">
              <a:alpha val="95000"/>
            </a:srgbClr>
          </a:solidFill>
          <a:ln w="50800" cap="rnd">
            <a:noFill/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ctr">
            <a:noAutofit/>
          </a:bodyPr>
          <a:lstStyle/>
          <a:p>
            <a:pPr algn="l"/>
            <a:endParaRPr lang="de-DE" sz="1500" b="0" i="0"/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02B3C7F7-2385-4FC4-B87C-B87717818C26}"/>
              </a:ext>
            </a:extLst>
          </p:cNvPr>
          <p:cNvSpPr txBox="1">
            <a:spLocks/>
          </p:cNvSpPr>
          <p:nvPr/>
        </p:nvSpPr>
        <p:spPr>
          <a:xfrm>
            <a:off x="265895" y="3849748"/>
            <a:ext cx="307042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400" b="1">
                <a:solidFill>
                  <a:schemeClr val="accent1"/>
                </a:solidFill>
                <a:latin typeface="+mj-lt"/>
              </a:rPr>
              <a:t>Qualität der Leistungserbringung steigern &amp; Partnerschaften stärken </a:t>
            </a:r>
            <a:endParaRPr lang="de-DE" sz="1400" b="1" i="0" baseline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9" name="Freihandform: Form 38">
            <a:extLst>
              <a:ext uri="{FF2B5EF4-FFF2-40B4-BE49-F238E27FC236}">
                <a16:creationId xmlns:a16="http://schemas.microsoft.com/office/drawing/2014/main" id="{DB5BAD52-4876-6B64-9972-99885063E724}"/>
              </a:ext>
            </a:extLst>
          </p:cNvPr>
          <p:cNvSpPr/>
          <p:nvPr/>
        </p:nvSpPr>
        <p:spPr>
          <a:xfrm>
            <a:off x="6102359" y="2313952"/>
            <a:ext cx="2851278" cy="1200170"/>
          </a:xfrm>
          <a:custGeom>
            <a:avLst/>
            <a:gdLst>
              <a:gd name="connsiteX0" fmla="*/ 241553 w 4021362"/>
              <a:gd name="connsiteY0" fmla="*/ 0 h 1301320"/>
              <a:gd name="connsiteX1" fmla="*/ 3804471 w 4021362"/>
              <a:gd name="connsiteY1" fmla="*/ 0 h 1301320"/>
              <a:gd name="connsiteX2" fmla="*/ 4021362 w 4021362"/>
              <a:gd name="connsiteY2" fmla="*/ 216891 h 1301320"/>
              <a:gd name="connsiteX3" fmla="*/ 4021362 w 4021362"/>
              <a:gd name="connsiteY3" fmla="*/ 1084429 h 1301320"/>
              <a:gd name="connsiteX4" fmla="*/ 3804471 w 4021362"/>
              <a:gd name="connsiteY4" fmla="*/ 1301320 h 1301320"/>
              <a:gd name="connsiteX5" fmla="*/ 0 w 4021362"/>
              <a:gd name="connsiteY5" fmla="*/ 1301320 h 1301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1362" h="1301320">
                <a:moveTo>
                  <a:pt x="241553" y="0"/>
                </a:moveTo>
                <a:lnTo>
                  <a:pt x="3804471" y="0"/>
                </a:lnTo>
                <a:cubicBezTo>
                  <a:pt x="3924257" y="0"/>
                  <a:pt x="4021362" y="97105"/>
                  <a:pt x="4021362" y="216891"/>
                </a:cubicBezTo>
                <a:lnTo>
                  <a:pt x="4021362" y="1084429"/>
                </a:lnTo>
                <a:cubicBezTo>
                  <a:pt x="4021362" y="1204215"/>
                  <a:pt x="3924257" y="1301320"/>
                  <a:pt x="3804471" y="1301320"/>
                </a:cubicBezTo>
                <a:lnTo>
                  <a:pt x="0" y="1301320"/>
                </a:lnTo>
                <a:close/>
              </a:path>
            </a:pathLst>
          </a:custGeom>
          <a:solidFill>
            <a:schemeClr val="bg1">
              <a:lumMod val="95000"/>
              <a:alpha val="95000"/>
            </a:schemeClr>
          </a:solidFill>
          <a:ln w="50800" cap="rnd">
            <a:noFill/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ctr">
            <a:noAutofit/>
          </a:bodyPr>
          <a:lstStyle/>
          <a:p>
            <a:pPr algn="l"/>
            <a:endParaRPr lang="de-DE" sz="1500" b="0" i="0"/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A9942520-240F-6C18-A69B-8CEE29C18436}"/>
              </a:ext>
            </a:extLst>
          </p:cNvPr>
          <p:cNvSpPr txBox="1">
            <a:spLocks/>
          </p:cNvSpPr>
          <p:nvPr/>
        </p:nvSpPr>
        <p:spPr>
          <a:xfrm>
            <a:off x="6459699" y="2698593"/>
            <a:ext cx="2684302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>
                <a:solidFill>
                  <a:schemeClr val="accent1"/>
                </a:solidFill>
                <a:latin typeface="+mj-lt"/>
              </a:rPr>
              <a:t>Transparenz über Lieferantenleistungen verbessern</a:t>
            </a:r>
            <a:endParaRPr lang="de-DE" sz="1400" b="1" i="0" baseline="0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53D6189A-DD30-BF3C-354A-5A65219A0CBE}"/>
              </a:ext>
            </a:extLst>
          </p:cNvPr>
          <p:cNvGrpSpPr/>
          <p:nvPr/>
        </p:nvGrpSpPr>
        <p:grpSpPr>
          <a:xfrm>
            <a:off x="3336319" y="0"/>
            <a:ext cx="6098530" cy="4770073"/>
            <a:chOff x="3195687" y="-122548"/>
            <a:chExt cx="9323081" cy="6777872"/>
          </a:xfrm>
        </p:grpSpPr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658C5EAD-32B7-AE90-45E4-7D7F8E0D6E93}"/>
                </a:ext>
              </a:extLst>
            </p:cNvPr>
            <p:cNvSpPr/>
            <p:nvPr/>
          </p:nvSpPr>
          <p:spPr>
            <a:xfrm>
              <a:off x="3195687" y="-122548"/>
              <a:ext cx="5222449" cy="6777872"/>
            </a:xfrm>
            <a:custGeom>
              <a:avLst/>
              <a:gdLst>
                <a:gd name="connsiteX0" fmla="*/ 1352136 w 5445726"/>
                <a:gd name="connsiteY0" fmla="*/ 0 h 6777872"/>
                <a:gd name="connsiteX1" fmla="*/ 5445726 w 5445726"/>
                <a:gd name="connsiteY1" fmla="*/ 0 h 6777872"/>
                <a:gd name="connsiteX2" fmla="*/ 4093590 w 5445726"/>
                <a:gd name="connsiteY2" fmla="*/ 6777872 h 6777872"/>
                <a:gd name="connsiteX3" fmla="*/ 0 w 5445726"/>
                <a:gd name="connsiteY3" fmla="*/ 6777872 h 6777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45726" h="6777872">
                  <a:moveTo>
                    <a:pt x="1352136" y="0"/>
                  </a:moveTo>
                  <a:lnTo>
                    <a:pt x="5445726" y="0"/>
                  </a:lnTo>
                  <a:lnTo>
                    <a:pt x="4093590" y="6777872"/>
                  </a:lnTo>
                  <a:lnTo>
                    <a:pt x="0" y="6777872"/>
                  </a:lnTo>
                  <a:close/>
                </a:path>
              </a:pathLst>
            </a:custGeom>
            <a:solidFill>
              <a:schemeClr val="bg1"/>
            </a:solidFill>
            <a:ln w="50800" cap="rnd">
              <a:noFill/>
              <a:round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88000" tIns="288000" rIns="288000" bIns="288000" rtlCol="0" anchor="ctr">
              <a:noAutofit/>
            </a:bodyPr>
            <a:lstStyle/>
            <a:p>
              <a:pPr algn="l"/>
              <a:endParaRPr lang="de-DE" sz="1500" b="0" i="0"/>
            </a:p>
          </p:txBody>
        </p:sp>
        <p:sp>
          <p:nvSpPr>
            <p:cNvPr id="19" name="Titel 5">
              <a:extLst>
                <a:ext uri="{FF2B5EF4-FFF2-40B4-BE49-F238E27FC236}">
                  <a16:creationId xmlns:a16="http://schemas.microsoft.com/office/drawing/2014/main" id="{0B8F4438-C91F-848C-83FC-A59A3C9F2D04}"/>
                </a:ext>
              </a:extLst>
            </p:cNvPr>
            <p:cNvSpPr txBox="1">
              <a:spLocks/>
            </p:cNvSpPr>
            <p:nvPr/>
          </p:nvSpPr>
          <p:spPr>
            <a:xfrm>
              <a:off x="4693665" y="3795747"/>
              <a:ext cx="7825103" cy="512961"/>
            </a:xfrm>
            <a:prstGeom prst="rect">
              <a:avLst/>
            </a:prstGeom>
          </p:spPr>
          <p:txBody>
            <a:bodyPr vert="horz"/>
            <a:lstStyle>
              <a:lvl1pPr algn="l" defTabSz="914400" rtl="0" eaLnBrk="1" latinLnBrk="0" hangingPunct="1">
                <a:lnSpc>
                  <a:spcPts val="2000"/>
                </a:lnSpc>
                <a:spcBef>
                  <a:spcPct val="0"/>
                </a:spcBef>
                <a:buNone/>
                <a:defRPr sz="2000" b="0" i="0" kern="1200">
                  <a:solidFill>
                    <a:srgbClr val="012F60"/>
                  </a:solidFill>
                  <a:latin typeface="Artex Medium" pitchFamily="2" charset="77"/>
                  <a:ea typeface="+mj-ea"/>
                  <a:cs typeface="+mj-cs"/>
                </a:defRPr>
              </a:lvl1pPr>
            </a:lstStyle>
            <a:p>
              <a:r>
                <a:rPr lang="de-DE" sz="3200"/>
                <a:t>LIMA?</a:t>
              </a:r>
              <a:br>
                <a:rPr lang="de-DE"/>
              </a:br>
              <a:endParaRPr lang="de-DE"/>
            </a:p>
          </p:txBody>
        </p:sp>
        <p:sp>
          <p:nvSpPr>
            <p:cNvPr id="20" name="Titel 5">
              <a:extLst>
                <a:ext uri="{FF2B5EF4-FFF2-40B4-BE49-F238E27FC236}">
                  <a16:creationId xmlns:a16="http://schemas.microsoft.com/office/drawing/2014/main" id="{F479BADC-5FB8-A2CF-740D-5B1285D28355}"/>
                </a:ext>
              </a:extLst>
            </p:cNvPr>
            <p:cNvSpPr txBox="1">
              <a:spLocks/>
            </p:cNvSpPr>
            <p:nvPr/>
          </p:nvSpPr>
          <p:spPr>
            <a:xfrm>
              <a:off x="3795524" y="2992725"/>
              <a:ext cx="4175006" cy="512961"/>
            </a:xfrm>
            <a:prstGeom prst="rect">
              <a:avLst/>
            </a:prstGeom>
          </p:spPr>
          <p:txBody>
            <a:bodyPr vert="horz"/>
            <a:lstStyle>
              <a:lvl1pPr algn="l" defTabSz="914400" rtl="0" eaLnBrk="1" latinLnBrk="0" hangingPunct="1">
                <a:lnSpc>
                  <a:spcPts val="2000"/>
                </a:lnSpc>
                <a:spcBef>
                  <a:spcPct val="0"/>
                </a:spcBef>
                <a:buNone/>
                <a:defRPr sz="2000" b="0" i="0" kern="1200">
                  <a:solidFill>
                    <a:srgbClr val="012F60"/>
                  </a:solidFill>
                  <a:latin typeface="Artex Medium" pitchFamily="2" charset="77"/>
                  <a:ea typeface="+mj-ea"/>
                  <a:cs typeface="+mj-cs"/>
                </a:defRPr>
              </a:lvl1pPr>
            </a:lstStyle>
            <a:p>
              <a:r>
                <a:rPr lang="de-DE" sz="1800"/>
                <a:t> Was sind die Ziele von              </a:t>
              </a:r>
              <a:br>
                <a:rPr lang="de-DE" sz="1800"/>
              </a:br>
              <a:endParaRPr lang="de-DE" sz="1800"/>
            </a:p>
          </p:txBody>
        </p:sp>
      </p:grpSp>
      <p:sp>
        <p:nvSpPr>
          <p:cNvPr id="44" name="Foliennummernplatzhalter 4">
            <a:extLst>
              <a:ext uri="{FF2B5EF4-FFF2-40B4-BE49-F238E27FC236}">
                <a16:creationId xmlns:a16="http://schemas.microsoft.com/office/drawing/2014/main" id="{475BA82A-ACF2-0CCA-88ED-8181FE42F7B4}"/>
              </a:ext>
            </a:extLst>
          </p:cNvPr>
          <p:cNvSpPr txBox="1">
            <a:spLocks/>
          </p:cNvSpPr>
          <p:nvPr/>
        </p:nvSpPr>
        <p:spPr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>
              <a:defRPr sz="800">
                <a:solidFill>
                  <a:schemeClr val="bg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63C361D-6D9E-4F98-8831-48736655B334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5" name="Foliennummernplatzhalter 1">
            <a:extLst>
              <a:ext uri="{FF2B5EF4-FFF2-40B4-BE49-F238E27FC236}">
                <a16:creationId xmlns:a16="http://schemas.microsoft.com/office/drawing/2014/main" id="{7D11BD6C-B34F-DC7F-8553-E028E762BE4D}"/>
              </a:ext>
            </a:extLst>
          </p:cNvPr>
          <p:cNvSpPr txBox="1">
            <a:spLocks/>
          </p:cNvSpPr>
          <p:nvPr/>
        </p:nvSpPr>
        <p:spPr bwMode="gray">
          <a:xfrm>
            <a:off x="1103141" y="4933989"/>
            <a:ext cx="3063342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D9607335-8BDB-4D50-A1E6-11B757708170}" type="slidenum">
              <a:rPr lang="de-DE" smtClean="0"/>
              <a:pPr>
                <a:defRPr/>
              </a:pPr>
              <a:t>6</a:t>
            </a:fld>
            <a:r>
              <a:rPr lang="de-DE"/>
              <a:t> I Infoveranstaltung LIMA I 16.04.2025</a:t>
            </a:r>
          </a:p>
        </p:txBody>
      </p:sp>
    </p:spTree>
    <p:extLst>
      <p:ext uri="{BB962C8B-B14F-4D97-AF65-F5344CB8AC3E}">
        <p14:creationId xmlns:p14="http://schemas.microsoft.com/office/powerpoint/2010/main" val="16604447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0" name="think-cell data - do not delete" hidden="1">
            <a:extLst>
              <a:ext uri="{FF2B5EF4-FFF2-40B4-BE49-F238E27FC236}">
                <a16:creationId xmlns:a16="http://schemas.microsoft.com/office/drawing/2014/main" id="{B986AFD6-E363-046C-06F8-5DC083C3E1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082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1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86AFD6-E363-046C-06F8-5DC083C3E1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6" name="Träne 125">
            <a:extLst>
              <a:ext uri="{FF2B5EF4-FFF2-40B4-BE49-F238E27FC236}">
                <a16:creationId xmlns:a16="http://schemas.microsoft.com/office/drawing/2014/main" id="{6EDF2B26-00AC-B983-D51B-6C82919408BE}"/>
              </a:ext>
            </a:extLst>
          </p:cNvPr>
          <p:cNvSpPr/>
          <p:nvPr/>
        </p:nvSpPr>
        <p:spPr>
          <a:xfrm flipH="1">
            <a:off x="4569135" y="2680868"/>
            <a:ext cx="2307121" cy="2081954"/>
          </a:xfrm>
          <a:prstGeom prst="teardrop">
            <a:avLst/>
          </a:prstGeom>
          <a:solidFill>
            <a:srgbClr val="002C57"/>
          </a:solidFill>
          <a:ln w="50800" cap="rnd">
            <a:noFill/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ctr">
            <a:spAutoFit/>
          </a:bodyPr>
          <a:lstStyle/>
          <a:p>
            <a:pPr algn="l"/>
            <a:endParaRPr lang="de-DE" sz="1500" b="0" i="0"/>
          </a:p>
        </p:txBody>
      </p:sp>
      <p:sp>
        <p:nvSpPr>
          <p:cNvPr id="113" name="Träne 112">
            <a:extLst>
              <a:ext uri="{FF2B5EF4-FFF2-40B4-BE49-F238E27FC236}">
                <a16:creationId xmlns:a16="http://schemas.microsoft.com/office/drawing/2014/main" id="{E51E447C-A9AC-6551-BD79-3DF4DEBD7C1F}"/>
              </a:ext>
            </a:extLst>
          </p:cNvPr>
          <p:cNvSpPr/>
          <p:nvPr/>
        </p:nvSpPr>
        <p:spPr>
          <a:xfrm rot="10800000">
            <a:off x="4570893" y="596494"/>
            <a:ext cx="2307122" cy="2034496"/>
          </a:xfrm>
          <a:prstGeom prst="teardrop">
            <a:avLst/>
          </a:prstGeom>
          <a:solidFill>
            <a:srgbClr val="002C57"/>
          </a:solidFill>
          <a:ln w="50800" cap="rnd">
            <a:noFill/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ctr">
            <a:spAutoFit/>
          </a:bodyPr>
          <a:lstStyle/>
          <a:p>
            <a:pPr algn="l"/>
            <a:endParaRPr lang="de-DE" sz="1500" b="0" i="0"/>
          </a:p>
        </p:txBody>
      </p:sp>
      <p:sp>
        <p:nvSpPr>
          <p:cNvPr id="117" name="Träne 116">
            <a:extLst>
              <a:ext uri="{FF2B5EF4-FFF2-40B4-BE49-F238E27FC236}">
                <a16:creationId xmlns:a16="http://schemas.microsoft.com/office/drawing/2014/main" id="{121F280D-9353-2C32-8FBE-68F78FFE616A}"/>
              </a:ext>
            </a:extLst>
          </p:cNvPr>
          <p:cNvSpPr/>
          <p:nvPr/>
        </p:nvSpPr>
        <p:spPr>
          <a:xfrm rot="10800000" flipH="1">
            <a:off x="2143330" y="546945"/>
            <a:ext cx="2347413" cy="2081954"/>
          </a:xfrm>
          <a:prstGeom prst="teardrop">
            <a:avLst/>
          </a:prstGeom>
          <a:solidFill>
            <a:srgbClr val="002C57"/>
          </a:solidFill>
          <a:ln w="50800" cap="rnd">
            <a:noFill/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ctr">
            <a:spAutoFit/>
          </a:bodyPr>
          <a:lstStyle/>
          <a:p>
            <a:pPr algn="l"/>
            <a:endParaRPr lang="de-DE" sz="1500" b="0" i="0"/>
          </a:p>
        </p:txBody>
      </p:sp>
      <p:sp>
        <p:nvSpPr>
          <p:cNvPr id="54" name="Freeform 1053">
            <a:extLst>
              <a:ext uri="{FF2B5EF4-FFF2-40B4-BE49-F238E27FC236}">
                <a16:creationId xmlns:a16="http://schemas.microsoft.com/office/drawing/2014/main" id="{F3D067D7-7DDE-AB70-9695-A70CB4CD1CDF}"/>
              </a:ext>
            </a:extLst>
          </p:cNvPr>
          <p:cNvSpPr>
            <a:spLocks noChangeAspect="1"/>
          </p:cNvSpPr>
          <p:nvPr/>
        </p:nvSpPr>
        <p:spPr bwMode="auto">
          <a:xfrm>
            <a:off x="3135787" y="629127"/>
            <a:ext cx="380400" cy="381550"/>
          </a:xfrm>
          <a:custGeom>
            <a:avLst/>
            <a:gdLst>
              <a:gd name="T0" fmla="*/ 13949738 w 290150"/>
              <a:gd name="T1" fmla="*/ 30897001 h 290153"/>
              <a:gd name="T2" fmla="*/ 19785320 w 290150"/>
              <a:gd name="T3" fmla="*/ 30897001 h 290153"/>
              <a:gd name="T4" fmla="*/ 20118815 w 290150"/>
              <a:gd name="T5" fmla="*/ 28875382 h 290153"/>
              <a:gd name="T6" fmla="*/ 20243743 w 290150"/>
              <a:gd name="T7" fmla="*/ 34638894 h 290153"/>
              <a:gd name="T8" fmla="*/ 12991068 w 290150"/>
              <a:gd name="T9" fmla="*/ 30897001 h 290153"/>
              <a:gd name="T10" fmla="*/ 16826042 w 290150"/>
              <a:gd name="T11" fmla="*/ 25500909 h 290153"/>
              <a:gd name="T12" fmla="*/ 18033120 w 290150"/>
              <a:gd name="T13" fmla="*/ 26680009 h 290153"/>
              <a:gd name="T14" fmla="*/ 19073887 w 290150"/>
              <a:gd name="T15" fmla="*/ 26680009 h 290153"/>
              <a:gd name="T16" fmla="*/ 16826042 w 290150"/>
              <a:gd name="T17" fmla="*/ 24447979 h 290153"/>
              <a:gd name="T18" fmla="*/ 27043216 w 290150"/>
              <a:gd name="T19" fmla="*/ 26305416 h 290153"/>
              <a:gd name="T20" fmla="*/ 32901244 w 290150"/>
              <a:gd name="T21" fmla="*/ 26305416 h 290153"/>
              <a:gd name="T22" fmla="*/ 33283353 w 290150"/>
              <a:gd name="T23" fmla="*/ 24326996 h 290153"/>
              <a:gd name="T24" fmla="*/ 33410636 w 290150"/>
              <a:gd name="T25" fmla="*/ 30090562 h 290153"/>
              <a:gd name="T26" fmla="*/ 25982140 w 290150"/>
              <a:gd name="T27" fmla="*/ 26305416 h 290153"/>
              <a:gd name="T28" fmla="*/ 1442990 w 290150"/>
              <a:gd name="T29" fmla="*/ 24283928 h 290153"/>
              <a:gd name="T30" fmla="*/ 1060923 w 290150"/>
              <a:gd name="T31" fmla="*/ 29058221 h 290153"/>
              <a:gd name="T32" fmla="*/ 6409832 w 290150"/>
              <a:gd name="T33" fmla="*/ 25015202 h 290153"/>
              <a:gd name="T34" fmla="*/ 7937749 w 290150"/>
              <a:gd name="T35" fmla="*/ 26305416 h 290153"/>
              <a:gd name="T36" fmla="*/ 509008 w 290150"/>
              <a:gd name="T37" fmla="*/ 30090562 h 290153"/>
              <a:gd name="T38" fmla="*/ 721713 w 290150"/>
              <a:gd name="T39" fmla="*/ 24326996 h 290153"/>
              <a:gd name="T40" fmla="*/ 28651561 w 290150"/>
              <a:gd name="T41" fmla="*/ 22173684 h 290153"/>
              <a:gd name="T42" fmla="*/ 29858769 w 290150"/>
              <a:gd name="T43" fmla="*/ 20972292 h 290153"/>
              <a:gd name="T44" fmla="*/ 3897519 w 290150"/>
              <a:gd name="T45" fmla="*/ 23375230 h 290153"/>
              <a:gd name="T46" fmla="*/ 29858769 w 290150"/>
              <a:gd name="T47" fmla="*/ 19899555 h 290153"/>
              <a:gd name="T48" fmla="*/ 27652561 w 290150"/>
              <a:gd name="T49" fmla="*/ 22173684 h 290153"/>
              <a:gd name="T50" fmla="*/ 6082965 w 290150"/>
              <a:gd name="T51" fmla="*/ 22173684 h 290153"/>
              <a:gd name="T52" fmla="*/ 3897519 w 290150"/>
              <a:gd name="T53" fmla="*/ 19899555 h 290153"/>
              <a:gd name="T54" fmla="*/ 17400600 w 290150"/>
              <a:gd name="T55" fmla="*/ 22140127 h 290153"/>
              <a:gd name="T56" fmla="*/ 16331546 w 290150"/>
              <a:gd name="T57" fmla="*/ 17236943 h 290153"/>
              <a:gd name="T58" fmla="*/ 22163836 w 290150"/>
              <a:gd name="T59" fmla="*/ 15721511 h 290153"/>
              <a:gd name="T60" fmla="*/ 25940217 w 290150"/>
              <a:gd name="T61" fmla="*/ 22139279 h 290153"/>
              <a:gd name="T62" fmla="*/ 21156799 w 290150"/>
              <a:gd name="T63" fmla="*/ 22139279 h 290153"/>
              <a:gd name="T64" fmla="*/ 12074558 w 290150"/>
              <a:gd name="T65" fmla="*/ 15161567 h 290153"/>
              <a:gd name="T66" fmla="*/ 12074558 w 290150"/>
              <a:gd name="T67" fmla="*/ 22699054 h 290153"/>
              <a:gd name="T68" fmla="*/ 8298166 w 290150"/>
              <a:gd name="T69" fmla="*/ 21622368 h 290153"/>
              <a:gd name="T70" fmla="*/ 12074558 w 290150"/>
              <a:gd name="T71" fmla="*/ 15161567 h 290153"/>
              <a:gd name="T72" fmla="*/ 17467957 w 290150"/>
              <a:gd name="T73" fmla="*/ 6927296 h 290153"/>
              <a:gd name="T74" fmla="*/ 20049897 w 290150"/>
              <a:gd name="T75" fmla="*/ 8001392 h 290153"/>
              <a:gd name="T76" fmla="*/ 17002298 w 290150"/>
              <a:gd name="T77" fmla="*/ 11138632 h 290153"/>
              <a:gd name="T78" fmla="*/ 13870255 w 290150"/>
              <a:gd name="T79" fmla="*/ 8001392 h 290153"/>
              <a:gd name="T80" fmla="*/ 16452097 w 290150"/>
              <a:gd name="T81" fmla="*/ 6927296 h 290153"/>
              <a:gd name="T82" fmla="*/ 16909629 w 290150"/>
              <a:gd name="T83" fmla="*/ 1036855 h 290153"/>
              <a:gd name="T84" fmla="*/ 23212089 w 290150"/>
              <a:gd name="T85" fmla="*/ 7515668 h 290153"/>
              <a:gd name="T86" fmla="*/ 24269621 w 290150"/>
              <a:gd name="T87" fmla="*/ 7515668 h 290153"/>
              <a:gd name="T88" fmla="*/ 16909629 w 290150"/>
              <a:gd name="T89" fmla="*/ 0 h 29015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90150" h="290153">
                <a:moveTo>
                  <a:pt x="122891" y="241515"/>
                </a:moveTo>
                <a:cubicBezTo>
                  <a:pt x="124674" y="242596"/>
                  <a:pt x="125030" y="245478"/>
                  <a:pt x="123604" y="247639"/>
                </a:cubicBezTo>
                <a:cubicBezTo>
                  <a:pt x="121108" y="250882"/>
                  <a:pt x="119325" y="254485"/>
                  <a:pt x="119325" y="258808"/>
                </a:cubicBezTo>
                <a:lnTo>
                  <a:pt x="119325" y="281506"/>
                </a:lnTo>
                <a:lnTo>
                  <a:pt x="169243" y="281506"/>
                </a:lnTo>
                <a:lnTo>
                  <a:pt x="169243" y="258808"/>
                </a:lnTo>
                <a:cubicBezTo>
                  <a:pt x="169243" y="254485"/>
                  <a:pt x="167460" y="250882"/>
                  <a:pt x="164964" y="247639"/>
                </a:cubicBezTo>
                <a:cubicBezTo>
                  <a:pt x="163538" y="245478"/>
                  <a:pt x="163894" y="242596"/>
                  <a:pt x="166034" y="241515"/>
                </a:cubicBezTo>
                <a:cubicBezTo>
                  <a:pt x="167460" y="239713"/>
                  <a:pt x="170312" y="239713"/>
                  <a:pt x="172095" y="241875"/>
                </a:cubicBezTo>
                <a:cubicBezTo>
                  <a:pt x="175660" y="246919"/>
                  <a:pt x="177443" y="252683"/>
                  <a:pt x="177443" y="258808"/>
                </a:cubicBezTo>
                <a:lnTo>
                  <a:pt x="177443" y="285469"/>
                </a:lnTo>
                <a:cubicBezTo>
                  <a:pt x="177443" y="288352"/>
                  <a:pt x="175660" y="290153"/>
                  <a:pt x="173165" y="290153"/>
                </a:cubicBezTo>
                <a:lnTo>
                  <a:pt x="115047" y="290153"/>
                </a:lnTo>
                <a:cubicBezTo>
                  <a:pt x="112908" y="290153"/>
                  <a:pt x="111125" y="288352"/>
                  <a:pt x="111125" y="285469"/>
                </a:cubicBezTo>
                <a:lnTo>
                  <a:pt x="111125" y="258808"/>
                </a:lnTo>
                <a:cubicBezTo>
                  <a:pt x="111125" y="252683"/>
                  <a:pt x="112908" y="246919"/>
                  <a:pt x="116830" y="241875"/>
                </a:cubicBezTo>
                <a:cubicBezTo>
                  <a:pt x="118256" y="239713"/>
                  <a:pt x="121108" y="239713"/>
                  <a:pt x="122891" y="241515"/>
                </a:cubicBezTo>
                <a:close/>
                <a:moveTo>
                  <a:pt x="143929" y="213608"/>
                </a:moveTo>
                <a:cubicBezTo>
                  <a:pt x="138944" y="213608"/>
                  <a:pt x="134315" y="218194"/>
                  <a:pt x="134315" y="223485"/>
                </a:cubicBezTo>
                <a:cubicBezTo>
                  <a:pt x="134315" y="229483"/>
                  <a:pt x="138944" y="234069"/>
                  <a:pt x="143929" y="234069"/>
                </a:cubicBezTo>
                <a:cubicBezTo>
                  <a:pt x="149626" y="234069"/>
                  <a:pt x="154255" y="229483"/>
                  <a:pt x="154255" y="223485"/>
                </a:cubicBezTo>
                <a:cubicBezTo>
                  <a:pt x="154255" y="218194"/>
                  <a:pt x="149626" y="213608"/>
                  <a:pt x="143929" y="213608"/>
                </a:cubicBezTo>
                <a:close/>
                <a:moveTo>
                  <a:pt x="143929" y="204788"/>
                </a:moveTo>
                <a:cubicBezTo>
                  <a:pt x="154611" y="204788"/>
                  <a:pt x="163157" y="213608"/>
                  <a:pt x="163157" y="223485"/>
                </a:cubicBezTo>
                <a:cubicBezTo>
                  <a:pt x="163157" y="234069"/>
                  <a:pt x="154611" y="242535"/>
                  <a:pt x="143929" y="242535"/>
                </a:cubicBezTo>
                <a:cubicBezTo>
                  <a:pt x="133959" y="242535"/>
                  <a:pt x="125413" y="234069"/>
                  <a:pt x="125413" y="223485"/>
                </a:cubicBezTo>
                <a:cubicBezTo>
                  <a:pt x="125413" y="213608"/>
                  <a:pt x="133959" y="204788"/>
                  <a:pt x="143929" y="204788"/>
                </a:cubicBezTo>
                <a:close/>
                <a:moveTo>
                  <a:pt x="234596" y="203415"/>
                </a:moveTo>
                <a:cubicBezTo>
                  <a:pt x="236411" y="204856"/>
                  <a:pt x="236411" y="207378"/>
                  <a:pt x="235322" y="209539"/>
                </a:cubicBezTo>
                <a:cubicBezTo>
                  <a:pt x="232417" y="212782"/>
                  <a:pt x="231328" y="216385"/>
                  <a:pt x="231328" y="220348"/>
                </a:cubicBezTo>
                <a:lnTo>
                  <a:pt x="231328" y="243406"/>
                </a:lnTo>
                <a:lnTo>
                  <a:pt x="281436" y="243406"/>
                </a:lnTo>
                <a:lnTo>
                  <a:pt x="281436" y="220348"/>
                </a:lnTo>
                <a:cubicBezTo>
                  <a:pt x="281436" y="216385"/>
                  <a:pt x="279983" y="212782"/>
                  <a:pt x="277079" y="209539"/>
                </a:cubicBezTo>
                <a:cubicBezTo>
                  <a:pt x="275989" y="207378"/>
                  <a:pt x="276352" y="204856"/>
                  <a:pt x="278168" y="203415"/>
                </a:cubicBezTo>
                <a:cubicBezTo>
                  <a:pt x="279983" y="201613"/>
                  <a:pt x="282525" y="201974"/>
                  <a:pt x="284704" y="203775"/>
                </a:cubicBezTo>
                <a:cubicBezTo>
                  <a:pt x="288335" y="208459"/>
                  <a:pt x="290150" y="214223"/>
                  <a:pt x="290150" y="220348"/>
                </a:cubicBezTo>
                <a:lnTo>
                  <a:pt x="290150" y="247730"/>
                </a:lnTo>
                <a:cubicBezTo>
                  <a:pt x="290150" y="250252"/>
                  <a:pt x="288335" y="252053"/>
                  <a:pt x="285793" y="252053"/>
                </a:cubicBezTo>
                <a:lnTo>
                  <a:pt x="226607" y="252053"/>
                </a:lnTo>
                <a:cubicBezTo>
                  <a:pt x="224066" y="252053"/>
                  <a:pt x="222250" y="250252"/>
                  <a:pt x="222250" y="247730"/>
                </a:cubicBezTo>
                <a:lnTo>
                  <a:pt x="222250" y="220348"/>
                </a:lnTo>
                <a:cubicBezTo>
                  <a:pt x="222250" y="214223"/>
                  <a:pt x="224066" y="208459"/>
                  <a:pt x="228423" y="203775"/>
                </a:cubicBezTo>
                <a:cubicBezTo>
                  <a:pt x="229875" y="201974"/>
                  <a:pt x="232417" y="201613"/>
                  <a:pt x="234596" y="203415"/>
                </a:cubicBezTo>
                <a:close/>
                <a:moveTo>
                  <a:pt x="12345" y="203415"/>
                </a:moveTo>
                <a:cubicBezTo>
                  <a:pt x="13798" y="204856"/>
                  <a:pt x="14161" y="207378"/>
                  <a:pt x="12708" y="209539"/>
                </a:cubicBezTo>
                <a:cubicBezTo>
                  <a:pt x="10167" y="212782"/>
                  <a:pt x="9077" y="216385"/>
                  <a:pt x="9077" y="220348"/>
                </a:cubicBezTo>
                <a:lnTo>
                  <a:pt x="9077" y="243406"/>
                </a:lnTo>
                <a:lnTo>
                  <a:pt x="59185" y="243406"/>
                </a:lnTo>
                <a:lnTo>
                  <a:pt x="59185" y="220348"/>
                </a:lnTo>
                <a:cubicBezTo>
                  <a:pt x="59185" y="216385"/>
                  <a:pt x="57733" y="212782"/>
                  <a:pt x="54828" y="209539"/>
                </a:cubicBezTo>
                <a:cubicBezTo>
                  <a:pt x="53739" y="207378"/>
                  <a:pt x="53739" y="204856"/>
                  <a:pt x="55917" y="203415"/>
                </a:cubicBezTo>
                <a:cubicBezTo>
                  <a:pt x="57733" y="201613"/>
                  <a:pt x="60275" y="201974"/>
                  <a:pt x="62090" y="203775"/>
                </a:cubicBezTo>
                <a:cubicBezTo>
                  <a:pt x="66084" y="208459"/>
                  <a:pt x="67900" y="214223"/>
                  <a:pt x="67900" y="220348"/>
                </a:cubicBezTo>
                <a:lnTo>
                  <a:pt x="67900" y="247730"/>
                </a:lnTo>
                <a:cubicBezTo>
                  <a:pt x="67900" y="250252"/>
                  <a:pt x="66084" y="252053"/>
                  <a:pt x="63542" y="252053"/>
                </a:cubicBezTo>
                <a:lnTo>
                  <a:pt x="4357" y="252053"/>
                </a:lnTo>
                <a:cubicBezTo>
                  <a:pt x="1815" y="252053"/>
                  <a:pt x="0" y="250252"/>
                  <a:pt x="0" y="247730"/>
                </a:cubicBezTo>
                <a:lnTo>
                  <a:pt x="0" y="220348"/>
                </a:lnTo>
                <a:cubicBezTo>
                  <a:pt x="0" y="214223"/>
                  <a:pt x="2178" y="208459"/>
                  <a:pt x="6172" y="203775"/>
                </a:cubicBezTo>
                <a:cubicBezTo>
                  <a:pt x="7625" y="201974"/>
                  <a:pt x="10167" y="201613"/>
                  <a:pt x="12345" y="203415"/>
                </a:cubicBezTo>
                <a:close/>
                <a:moveTo>
                  <a:pt x="255410" y="175674"/>
                </a:moveTo>
                <a:cubicBezTo>
                  <a:pt x="249713" y="175674"/>
                  <a:pt x="245084" y="179987"/>
                  <a:pt x="245084" y="185738"/>
                </a:cubicBezTo>
                <a:cubicBezTo>
                  <a:pt x="245084" y="191130"/>
                  <a:pt x="249713" y="195802"/>
                  <a:pt x="255410" y="195802"/>
                </a:cubicBezTo>
                <a:cubicBezTo>
                  <a:pt x="260751" y="195802"/>
                  <a:pt x="265380" y="191130"/>
                  <a:pt x="265380" y="185738"/>
                </a:cubicBezTo>
                <a:cubicBezTo>
                  <a:pt x="265380" y="179987"/>
                  <a:pt x="260751" y="175674"/>
                  <a:pt x="255410" y="175674"/>
                </a:cubicBezTo>
                <a:close/>
                <a:moveTo>
                  <a:pt x="33338" y="175674"/>
                </a:moveTo>
                <a:cubicBezTo>
                  <a:pt x="27693" y="175674"/>
                  <a:pt x="23107" y="179987"/>
                  <a:pt x="23107" y="185738"/>
                </a:cubicBezTo>
                <a:cubicBezTo>
                  <a:pt x="23107" y="191130"/>
                  <a:pt x="27693" y="195802"/>
                  <a:pt x="33338" y="195802"/>
                </a:cubicBezTo>
                <a:cubicBezTo>
                  <a:pt x="38629" y="195802"/>
                  <a:pt x="43216" y="191130"/>
                  <a:pt x="43216" y="185738"/>
                </a:cubicBezTo>
                <a:cubicBezTo>
                  <a:pt x="43216" y="179987"/>
                  <a:pt x="38629" y="175674"/>
                  <a:pt x="33338" y="175674"/>
                </a:cubicBezTo>
                <a:close/>
                <a:moveTo>
                  <a:pt x="255410" y="166688"/>
                </a:moveTo>
                <a:cubicBezTo>
                  <a:pt x="265736" y="166688"/>
                  <a:pt x="274282" y="175315"/>
                  <a:pt x="274282" y="185738"/>
                </a:cubicBezTo>
                <a:cubicBezTo>
                  <a:pt x="274282" y="196521"/>
                  <a:pt x="265736" y="204429"/>
                  <a:pt x="255410" y="204429"/>
                </a:cubicBezTo>
                <a:cubicBezTo>
                  <a:pt x="244728" y="204429"/>
                  <a:pt x="236538" y="196521"/>
                  <a:pt x="236538" y="185738"/>
                </a:cubicBezTo>
                <a:cubicBezTo>
                  <a:pt x="236538" y="175315"/>
                  <a:pt x="244728" y="166688"/>
                  <a:pt x="255410" y="166688"/>
                </a:cubicBezTo>
                <a:close/>
                <a:moveTo>
                  <a:pt x="33338" y="166688"/>
                </a:moveTo>
                <a:cubicBezTo>
                  <a:pt x="43568" y="166688"/>
                  <a:pt x="52035" y="175315"/>
                  <a:pt x="52035" y="185738"/>
                </a:cubicBezTo>
                <a:cubicBezTo>
                  <a:pt x="52035" y="196521"/>
                  <a:pt x="43568" y="204429"/>
                  <a:pt x="33338" y="204429"/>
                </a:cubicBezTo>
                <a:cubicBezTo>
                  <a:pt x="22754" y="204429"/>
                  <a:pt x="14288" y="196521"/>
                  <a:pt x="14288" y="185738"/>
                </a:cubicBezTo>
                <a:cubicBezTo>
                  <a:pt x="14288" y="175315"/>
                  <a:pt x="22754" y="166688"/>
                  <a:pt x="33338" y="166688"/>
                </a:cubicBezTo>
                <a:close/>
                <a:moveTo>
                  <a:pt x="143891" y="139700"/>
                </a:moveTo>
                <a:cubicBezTo>
                  <a:pt x="146939" y="139700"/>
                  <a:pt x="148844" y="141862"/>
                  <a:pt x="148844" y="144384"/>
                </a:cubicBezTo>
                <a:lnTo>
                  <a:pt x="148844" y="185456"/>
                </a:lnTo>
                <a:cubicBezTo>
                  <a:pt x="148844" y="187978"/>
                  <a:pt x="146939" y="190140"/>
                  <a:pt x="143891" y="190140"/>
                </a:cubicBezTo>
                <a:cubicBezTo>
                  <a:pt x="141605" y="190140"/>
                  <a:pt x="139700" y="187978"/>
                  <a:pt x="139700" y="185456"/>
                </a:cubicBezTo>
                <a:lnTo>
                  <a:pt x="139700" y="144384"/>
                </a:lnTo>
                <a:cubicBezTo>
                  <a:pt x="139700" y="141862"/>
                  <a:pt x="141605" y="139700"/>
                  <a:pt x="143891" y="139700"/>
                </a:cubicBezTo>
                <a:close/>
                <a:moveTo>
                  <a:pt x="185282" y="127000"/>
                </a:moveTo>
                <a:cubicBezTo>
                  <a:pt x="188154" y="127000"/>
                  <a:pt x="189589" y="128804"/>
                  <a:pt x="189589" y="131691"/>
                </a:cubicBezTo>
                <a:lnTo>
                  <a:pt x="189589" y="181120"/>
                </a:lnTo>
                <a:lnTo>
                  <a:pt x="217225" y="181120"/>
                </a:lnTo>
                <a:cubicBezTo>
                  <a:pt x="219738" y="181120"/>
                  <a:pt x="221891" y="182924"/>
                  <a:pt x="221891" y="185449"/>
                </a:cubicBezTo>
                <a:cubicBezTo>
                  <a:pt x="221891" y="187975"/>
                  <a:pt x="219738" y="190139"/>
                  <a:pt x="217225" y="190139"/>
                </a:cubicBezTo>
                <a:lnTo>
                  <a:pt x="185282" y="190139"/>
                </a:lnTo>
                <a:cubicBezTo>
                  <a:pt x="182770" y="190139"/>
                  <a:pt x="180975" y="187975"/>
                  <a:pt x="180975" y="185449"/>
                </a:cubicBezTo>
                <a:lnTo>
                  <a:pt x="180975" y="131691"/>
                </a:lnTo>
                <a:cubicBezTo>
                  <a:pt x="180975" y="128804"/>
                  <a:pt x="182770" y="127000"/>
                  <a:pt x="185282" y="127000"/>
                </a:cubicBezTo>
                <a:close/>
                <a:moveTo>
                  <a:pt x="103284" y="127000"/>
                </a:moveTo>
                <a:cubicBezTo>
                  <a:pt x="105796" y="127000"/>
                  <a:pt x="107591" y="128804"/>
                  <a:pt x="107591" y="131691"/>
                </a:cubicBezTo>
                <a:lnTo>
                  <a:pt x="107591" y="185449"/>
                </a:lnTo>
                <a:cubicBezTo>
                  <a:pt x="107591" y="187975"/>
                  <a:pt x="105796" y="190139"/>
                  <a:pt x="103284" y="190139"/>
                </a:cubicBezTo>
                <a:lnTo>
                  <a:pt x="70982" y="190139"/>
                </a:lnTo>
                <a:cubicBezTo>
                  <a:pt x="68828" y="190139"/>
                  <a:pt x="66675" y="187975"/>
                  <a:pt x="66675" y="185449"/>
                </a:cubicBezTo>
                <a:cubicBezTo>
                  <a:pt x="66675" y="182924"/>
                  <a:pt x="68828" y="181120"/>
                  <a:pt x="70982" y="181120"/>
                </a:cubicBezTo>
                <a:lnTo>
                  <a:pt x="98977" y="181120"/>
                </a:lnTo>
                <a:lnTo>
                  <a:pt x="98977" y="131691"/>
                </a:lnTo>
                <a:cubicBezTo>
                  <a:pt x="98977" y="128804"/>
                  <a:pt x="101130" y="127000"/>
                  <a:pt x="103284" y="127000"/>
                </a:cubicBezTo>
                <a:close/>
                <a:moveTo>
                  <a:pt x="145437" y="31750"/>
                </a:moveTo>
                <a:cubicBezTo>
                  <a:pt x="147610" y="31750"/>
                  <a:pt x="149420" y="33550"/>
                  <a:pt x="149420" y="36429"/>
                </a:cubicBezTo>
                <a:lnTo>
                  <a:pt x="149420" y="58027"/>
                </a:lnTo>
                <a:lnTo>
                  <a:pt x="171506" y="58027"/>
                </a:lnTo>
                <a:cubicBezTo>
                  <a:pt x="174040" y="58027"/>
                  <a:pt x="175851" y="60546"/>
                  <a:pt x="175851" y="62346"/>
                </a:cubicBezTo>
                <a:cubicBezTo>
                  <a:pt x="175851" y="65226"/>
                  <a:pt x="174040" y="67026"/>
                  <a:pt x="171506" y="67026"/>
                </a:cubicBezTo>
                <a:lnTo>
                  <a:pt x="149420" y="67026"/>
                </a:lnTo>
                <a:lnTo>
                  <a:pt x="149420" y="88983"/>
                </a:lnTo>
                <a:cubicBezTo>
                  <a:pt x="149420" y="91503"/>
                  <a:pt x="147610" y="93303"/>
                  <a:pt x="145437" y="93303"/>
                </a:cubicBezTo>
                <a:cubicBezTo>
                  <a:pt x="142541" y="93303"/>
                  <a:pt x="140730" y="91503"/>
                  <a:pt x="140730" y="88983"/>
                </a:cubicBezTo>
                <a:lnTo>
                  <a:pt x="140730" y="67026"/>
                </a:lnTo>
                <a:lnTo>
                  <a:pt x="118645" y="67026"/>
                </a:lnTo>
                <a:cubicBezTo>
                  <a:pt x="116110" y="67026"/>
                  <a:pt x="114300" y="65226"/>
                  <a:pt x="114300" y="62346"/>
                </a:cubicBezTo>
                <a:cubicBezTo>
                  <a:pt x="114300" y="60546"/>
                  <a:pt x="116110" y="58027"/>
                  <a:pt x="118645" y="58027"/>
                </a:cubicBezTo>
                <a:lnTo>
                  <a:pt x="140730" y="58027"/>
                </a:lnTo>
                <a:lnTo>
                  <a:pt x="140730" y="36429"/>
                </a:lnTo>
                <a:cubicBezTo>
                  <a:pt x="140730" y="33550"/>
                  <a:pt x="142541" y="31750"/>
                  <a:pt x="145437" y="31750"/>
                </a:cubicBezTo>
                <a:close/>
                <a:moveTo>
                  <a:pt x="144644" y="8684"/>
                </a:moveTo>
                <a:cubicBezTo>
                  <a:pt x="114251" y="8684"/>
                  <a:pt x="89647" y="33288"/>
                  <a:pt x="89647" y="62957"/>
                </a:cubicBezTo>
                <a:cubicBezTo>
                  <a:pt x="89647" y="93350"/>
                  <a:pt x="114251" y="117954"/>
                  <a:pt x="144644" y="117954"/>
                </a:cubicBezTo>
                <a:cubicBezTo>
                  <a:pt x="174313" y="117954"/>
                  <a:pt x="198556" y="93350"/>
                  <a:pt x="198556" y="62957"/>
                </a:cubicBezTo>
                <a:cubicBezTo>
                  <a:pt x="198556" y="33288"/>
                  <a:pt x="174313" y="8684"/>
                  <a:pt x="144644" y="8684"/>
                </a:cubicBezTo>
                <a:close/>
                <a:moveTo>
                  <a:pt x="144644" y="0"/>
                </a:moveTo>
                <a:cubicBezTo>
                  <a:pt x="179379" y="0"/>
                  <a:pt x="207601" y="28222"/>
                  <a:pt x="207601" y="62957"/>
                </a:cubicBezTo>
                <a:cubicBezTo>
                  <a:pt x="207601" y="98416"/>
                  <a:pt x="179379" y="126638"/>
                  <a:pt x="144644" y="126638"/>
                </a:cubicBezTo>
                <a:cubicBezTo>
                  <a:pt x="109185" y="126638"/>
                  <a:pt x="80963" y="98416"/>
                  <a:pt x="80963" y="62957"/>
                </a:cubicBezTo>
                <a:cubicBezTo>
                  <a:pt x="80963" y="28222"/>
                  <a:pt x="109185" y="0"/>
                  <a:pt x="14464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de-DE" sz="506">
              <a:latin typeface="Lato Light" panose="020F0502020204030203" pitchFamily="34" charset="0"/>
            </a:endParaRPr>
          </a:p>
        </p:txBody>
      </p:sp>
      <p:sp>
        <p:nvSpPr>
          <p:cNvPr id="57" name="object 5">
            <a:extLst>
              <a:ext uri="{FF2B5EF4-FFF2-40B4-BE49-F238E27FC236}">
                <a16:creationId xmlns:a16="http://schemas.microsoft.com/office/drawing/2014/main" id="{70C59DAA-E28B-9B00-1110-8659C914E74B}"/>
              </a:ext>
            </a:extLst>
          </p:cNvPr>
          <p:cNvSpPr>
            <a:spLocks noChangeAspect="1"/>
          </p:cNvSpPr>
          <p:nvPr/>
        </p:nvSpPr>
        <p:spPr>
          <a:xfrm>
            <a:off x="7169271" y="943748"/>
            <a:ext cx="1643953" cy="123743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pic>
        <p:nvPicPr>
          <p:cNvPr id="58" name="Grafik 57">
            <a:extLst>
              <a:ext uri="{FF2B5EF4-FFF2-40B4-BE49-F238E27FC236}">
                <a16:creationId xmlns:a16="http://schemas.microsoft.com/office/drawing/2014/main" id="{8B06D255-5801-9CBE-2559-51A7D9C38675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46806" y="992702"/>
            <a:ext cx="1070623" cy="868370"/>
          </a:xfrm>
          <a:prstGeom prst="rect">
            <a:avLst/>
          </a:prstGeom>
        </p:spPr>
      </p:pic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7E2A7D24-C9C1-47AA-0090-9DCC6EBD8F74}"/>
              </a:ext>
            </a:extLst>
          </p:cNvPr>
          <p:cNvGrpSpPr/>
          <p:nvPr/>
        </p:nvGrpSpPr>
        <p:grpSpPr>
          <a:xfrm>
            <a:off x="-823444" y="3359505"/>
            <a:ext cx="3176833" cy="792238"/>
            <a:chOff x="812800" y="2111051"/>
            <a:chExt cx="3960000" cy="872600"/>
          </a:xfrm>
        </p:grpSpPr>
        <p:grpSp>
          <p:nvGrpSpPr>
            <p:cNvPr id="60" name="Gruppieren 59">
              <a:extLst>
                <a:ext uri="{FF2B5EF4-FFF2-40B4-BE49-F238E27FC236}">
                  <a16:creationId xmlns:a16="http://schemas.microsoft.com/office/drawing/2014/main" id="{E2335C35-7D15-9B60-58A7-F709A20271F9}"/>
                </a:ext>
              </a:extLst>
            </p:cNvPr>
            <p:cNvGrpSpPr/>
            <p:nvPr/>
          </p:nvGrpSpPr>
          <p:grpSpPr>
            <a:xfrm flipH="1">
              <a:off x="3309268" y="2328794"/>
              <a:ext cx="1463532" cy="358965"/>
              <a:chOff x="-81738" y="-848361"/>
              <a:chExt cx="3872730" cy="591574"/>
            </a:xfrm>
            <a:solidFill>
              <a:srgbClr val="00338D"/>
            </a:solidFill>
          </p:grpSpPr>
          <p:sp>
            <p:nvSpPr>
              <p:cNvPr id="83" name="Rechteck 82">
                <a:extLst>
                  <a:ext uri="{FF2B5EF4-FFF2-40B4-BE49-F238E27FC236}">
                    <a16:creationId xmlns:a16="http://schemas.microsoft.com/office/drawing/2014/main" id="{298F9528-174F-EA68-FC72-16391160F3E0}"/>
                  </a:ext>
                </a:extLst>
              </p:cNvPr>
              <p:cNvSpPr/>
              <p:nvPr/>
            </p:nvSpPr>
            <p:spPr>
              <a:xfrm>
                <a:off x="-81738" y="-292384"/>
                <a:ext cx="1993093" cy="35597"/>
              </a:xfrm>
              <a:prstGeom prst="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  <p:sp>
            <p:nvSpPr>
              <p:cNvPr id="84" name="Rechteck 83">
                <a:extLst>
                  <a:ext uri="{FF2B5EF4-FFF2-40B4-BE49-F238E27FC236}">
                    <a16:creationId xmlns:a16="http://schemas.microsoft.com/office/drawing/2014/main" id="{EBFEDB01-18CA-94D9-6534-E4FBB6A232E9}"/>
                  </a:ext>
                </a:extLst>
              </p:cNvPr>
              <p:cNvSpPr/>
              <p:nvPr/>
            </p:nvSpPr>
            <p:spPr>
              <a:xfrm>
                <a:off x="2021772" y="-473030"/>
                <a:ext cx="1620000" cy="36000"/>
              </a:xfrm>
              <a:prstGeom prst="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  <p:sp>
            <p:nvSpPr>
              <p:cNvPr id="85" name="Rechteck 84">
                <a:extLst>
                  <a:ext uri="{FF2B5EF4-FFF2-40B4-BE49-F238E27FC236}">
                    <a16:creationId xmlns:a16="http://schemas.microsoft.com/office/drawing/2014/main" id="{45582DF8-F82E-ED1B-83D4-CB4CCAE2A23F}"/>
                  </a:ext>
                </a:extLst>
              </p:cNvPr>
              <p:cNvSpPr/>
              <p:nvPr/>
            </p:nvSpPr>
            <p:spPr>
              <a:xfrm rot="5400000">
                <a:off x="1676753" y="-491321"/>
                <a:ext cx="432000" cy="36000"/>
              </a:xfrm>
              <a:prstGeom prst="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  <p:sp>
            <p:nvSpPr>
              <p:cNvPr id="86" name="Rechteck 85">
                <a:extLst>
                  <a:ext uri="{FF2B5EF4-FFF2-40B4-BE49-F238E27FC236}">
                    <a16:creationId xmlns:a16="http://schemas.microsoft.com/office/drawing/2014/main" id="{BE665F95-1ACE-9C9D-92C0-109EC1F79F89}"/>
                  </a:ext>
                </a:extLst>
              </p:cNvPr>
              <p:cNvSpPr/>
              <p:nvPr/>
            </p:nvSpPr>
            <p:spPr>
              <a:xfrm rot="10800000">
                <a:off x="1911353" y="-689134"/>
                <a:ext cx="144000" cy="36000"/>
              </a:xfrm>
              <a:prstGeom prst="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  <p:sp>
            <p:nvSpPr>
              <p:cNvPr id="87" name="Rechteck 86">
                <a:extLst>
                  <a:ext uri="{FF2B5EF4-FFF2-40B4-BE49-F238E27FC236}">
                    <a16:creationId xmlns:a16="http://schemas.microsoft.com/office/drawing/2014/main" id="{7E2A9C81-E5CE-5E81-6E4A-A5F7FB7575FD}"/>
                  </a:ext>
                </a:extLst>
              </p:cNvPr>
              <p:cNvSpPr/>
              <p:nvPr/>
            </p:nvSpPr>
            <p:spPr>
              <a:xfrm rot="5400000">
                <a:off x="1930010" y="-599320"/>
                <a:ext cx="216000" cy="36000"/>
              </a:xfrm>
              <a:prstGeom prst="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44257340-5C1F-4758-C980-530084A49564}"/>
                  </a:ext>
                </a:extLst>
              </p:cNvPr>
              <p:cNvSpPr/>
              <p:nvPr/>
            </p:nvSpPr>
            <p:spPr>
              <a:xfrm rot="5400000">
                <a:off x="3461922" y="-640421"/>
                <a:ext cx="324000" cy="36000"/>
              </a:xfrm>
              <a:prstGeom prst="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  <p:sp>
            <p:nvSpPr>
              <p:cNvPr id="89" name="Rechteck 88">
                <a:extLst>
                  <a:ext uri="{FF2B5EF4-FFF2-40B4-BE49-F238E27FC236}">
                    <a16:creationId xmlns:a16="http://schemas.microsoft.com/office/drawing/2014/main" id="{505FA680-C2A7-1522-48DD-8857CE6A5137}"/>
                  </a:ext>
                </a:extLst>
              </p:cNvPr>
              <p:cNvSpPr/>
              <p:nvPr/>
            </p:nvSpPr>
            <p:spPr>
              <a:xfrm rot="10800000">
                <a:off x="3605917" y="-811017"/>
                <a:ext cx="144000" cy="36000"/>
              </a:xfrm>
              <a:prstGeom prst="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  <p:sp>
            <p:nvSpPr>
              <p:cNvPr id="90" name="Akkord 347">
                <a:extLst>
                  <a:ext uri="{FF2B5EF4-FFF2-40B4-BE49-F238E27FC236}">
                    <a16:creationId xmlns:a16="http://schemas.microsoft.com/office/drawing/2014/main" id="{A7FB986C-239C-1CFF-C895-A1F09FF97DD7}"/>
                  </a:ext>
                </a:extLst>
              </p:cNvPr>
              <p:cNvSpPr/>
              <p:nvPr/>
            </p:nvSpPr>
            <p:spPr>
              <a:xfrm rot="880523">
                <a:off x="3683394" y="-848361"/>
                <a:ext cx="107598" cy="107598"/>
              </a:xfrm>
              <a:prstGeom prst="chord">
                <a:avLst>
                  <a:gd name="adj1" fmla="val 3625052"/>
                  <a:gd name="adj2" fmla="val 16200000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</p:grpSp>
        <p:grpSp>
          <p:nvGrpSpPr>
            <p:cNvPr id="61" name="Gruppieren 60">
              <a:extLst>
                <a:ext uri="{FF2B5EF4-FFF2-40B4-BE49-F238E27FC236}">
                  <a16:creationId xmlns:a16="http://schemas.microsoft.com/office/drawing/2014/main" id="{2B56927E-7B2A-1C6D-145C-9086A3A14FC1}"/>
                </a:ext>
              </a:extLst>
            </p:cNvPr>
            <p:cNvGrpSpPr/>
            <p:nvPr/>
          </p:nvGrpSpPr>
          <p:grpSpPr>
            <a:xfrm>
              <a:off x="812800" y="2399383"/>
              <a:ext cx="1465477" cy="584268"/>
              <a:chOff x="250390" y="-848361"/>
              <a:chExt cx="3540602" cy="962866"/>
            </a:xfrm>
            <a:solidFill>
              <a:srgbClr val="00338D"/>
            </a:solidFill>
          </p:grpSpPr>
          <p:sp>
            <p:nvSpPr>
              <p:cNvPr id="75" name="Rechteck 74">
                <a:extLst>
                  <a:ext uri="{FF2B5EF4-FFF2-40B4-BE49-F238E27FC236}">
                    <a16:creationId xmlns:a16="http://schemas.microsoft.com/office/drawing/2014/main" id="{8911AA6C-9EC5-A97C-DF5F-9FC37A969A01}"/>
                  </a:ext>
                </a:extLst>
              </p:cNvPr>
              <p:cNvSpPr/>
              <p:nvPr/>
            </p:nvSpPr>
            <p:spPr>
              <a:xfrm>
                <a:off x="250390" y="78505"/>
                <a:ext cx="1296000" cy="36000"/>
              </a:xfrm>
              <a:prstGeom prst="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  <p:sp>
            <p:nvSpPr>
              <p:cNvPr id="76" name="Rechteck 75">
                <a:extLst>
                  <a:ext uri="{FF2B5EF4-FFF2-40B4-BE49-F238E27FC236}">
                    <a16:creationId xmlns:a16="http://schemas.microsoft.com/office/drawing/2014/main" id="{395E2A9A-5459-DDC4-CD2B-73D3A3AB0EC9}"/>
                  </a:ext>
                </a:extLst>
              </p:cNvPr>
              <p:cNvSpPr/>
              <p:nvPr/>
            </p:nvSpPr>
            <p:spPr>
              <a:xfrm>
                <a:off x="1661772" y="-130130"/>
                <a:ext cx="1980000" cy="36000"/>
              </a:xfrm>
              <a:prstGeom prst="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  <p:sp>
            <p:nvSpPr>
              <p:cNvPr id="77" name="Rechteck 76">
                <a:extLst>
                  <a:ext uri="{FF2B5EF4-FFF2-40B4-BE49-F238E27FC236}">
                    <a16:creationId xmlns:a16="http://schemas.microsoft.com/office/drawing/2014/main" id="{4ADF075C-5D04-30DD-728F-BB2E8647240D}"/>
                  </a:ext>
                </a:extLst>
              </p:cNvPr>
              <p:cNvSpPr/>
              <p:nvPr/>
            </p:nvSpPr>
            <p:spPr>
              <a:xfrm rot="5400000">
                <a:off x="1310041" y="-143658"/>
                <a:ext cx="432000" cy="36000"/>
              </a:xfrm>
              <a:prstGeom prst="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  <p:sp>
            <p:nvSpPr>
              <p:cNvPr id="78" name="Rechteck 77">
                <a:extLst>
                  <a:ext uri="{FF2B5EF4-FFF2-40B4-BE49-F238E27FC236}">
                    <a16:creationId xmlns:a16="http://schemas.microsoft.com/office/drawing/2014/main" id="{F85EB98E-397F-DCB6-8857-BA7BAA93E272}"/>
                  </a:ext>
                </a:extLst>
              </p:cNvPr>
              <p:cNvSpPr/>
              <p:nvPr/>
            </p:nvSpPr>
            <p:spPr>
              <a:xfrm rot="10800000">
                <a:off x="1508640" y="-343852"/>
                <a:ext cx="180000" cy="36000"/>
              </a:xfrm>
              <a:prstGeom prst="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  <p:sp>
            <p:nvSpPr>
              <p:cNvPr id="79" name="Rechteck 78">
                <a:extLst>
                  <a:ext uri="{FF2B5EF4-FFF2-40B4-BE49-F238E27FC236}">
                    <a16:creationId xmlns:a16="http://schemas.microsoft.com/office/drawing/2014/main" id="{57434059-0111-706D-F48A-B560550551D8}"/>
                  </a:ext>
                </a:extLst>
              </p:cNvPr>
              <p:cNvSpPr/>
              <p:nvPr/>
            </p:nvSpPr>
            <p:spPr>
              <a:xfrm rot="5400000">
                <a:off x="1572822" y="-251658"/>
                <a:ext cx="216000" cy="36000"/>
              </a:xfrm>
              <a:prstGeom prst="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  <p:sp>
            <p:nvSpPr>
              <p:cNvPr id="80" name="Rechteck 79">
                <a:extLst>
                  <a:ext uri="{FF2B5EF4-FFF2-40B4-BE49-F238E27FC236}">
                    <a16:creationId xmlns:a16="http://schemas.microsoft.com/office/drawing/2014/main" id="{B0600DAB-8297-6033-10EE-1114F2D9C8C3}"/>
                  </a:ext>
                </a:extLst>
              </p:cNvPr>
              <p:cNvSpPr/>
              <p:nvPr/>
            </p:nvSpPr>
            <p:spPr>
              <a:xfrm rot="5400000">
                <a:off x="3299922" y="-473808"/>
                <a:ext cx="648000" cy="36000"/>
              </a:xfrm>
              <a:prstGeom prst="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  <p:sp>
            <p:nvSpPr>
              <p:cNvPr id="81" name="Rechteck 80">
                <a:extLst>
                  <a:ext uri="{FF2B5EF4-FFF2-40B4-BE49-F238E27FC236}">
                    <a16:creationId xmlns:a16="http://schemas.microsoft.com/office/drawing/2014/main" id="{3C4A0A78-0F10-D6FE-7AFE-18BF45F2656E}"/>
                  </a:ext>
                </a:extLst>
              </p:cNvPr>
              <p:cNvSpPr/>
              <p:nvPr/>
            </p:nvSpPr>
            <p:spPr>
              <a:xfrm rot="10800000">
                <a:off x="3605917" y="-811017"/>
                <a:ext cx="144000" cy="36000"/>
              </a:xfrm>
              <a:prstGeom prst="rect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  <p:sp>
            <p:nvSpPr>
              <p:cNvPr id="82" name="Akkord 339">
                <a:extLst>
                  <a:ext uri="{FF2B5EF4-FFF2-40B4-BE49-F238E27FC236}">
                    <a16:creationId xmlns:a16="http://schemas.microsoft.com/office/drawing/2014/main" id="{E43D3916-7783-ACB0-5726-6DE8A6C2B008}"/>
                  </a:ext>
                </a:extLst>
              </p:cNvPr>
              <p:cNvSpPr/>
              <p:nvPr/>
            </p:nvSpPr>
            <p:spPr>
              <a:xfrm rot="880523">
                <a:off x="3683394" y="-848361"/>
                <a:ext cx="107598" cy="107598"/>
              </a:xfrm>
              <a:prstGeom prst="chord">
                <a:avLst>
                  <a:gd name="adj1" fmla="val 3625052"/>
                  <a:gd name="adj2" fmla="val 16200000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</p:grpSp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99A1C572-6A21-EC26-E1ED-757772BB5208}"/>
                </a:ext>
              </a:extLst>
            </p:cNvPr>
            <p:cNvGrpSpPr/>
            <p:nvPr/>
          </p:nvGrpSpPr>
          <p:grpSpPr>
            <a:xfrm>
              <a:off x="2247642" y="2111051"/>
              <a:ext cx="1092363" cy="721655"/>
              <a:chOff x="2247642" y="2111051"/>
              <a:chExt cx="1092363" cy="721655"/>
            </a:xfrm>
          </p:grpSpPr>
          <p:sp>
            <p:nvSpPr>
              <p:cNvPr id="63" name="Abgerundetes Rechteck 320">
                <a:extLst>
                  <a:ext uri="{FF2B5EF4-FFF2-40B4-BE49-F238E27FC236}">
                    <a16:creationId xmlns:a16="http://schemas.microsoft.com/office/drawing/2014/main" id="{CC0EDA4E-89D6-740C-2548-DD201C476206}"/>
                  </a:ext>
                </a:extLst>
              </p:cNvPr>
              <p:cNvSpPr/>
              <p:nvPr/>
            </p:nvSpPr>
            <p:spPr>
              <a:xfrm>
                <a:off x="2247642" y="2111051"/>
                <a:ext cx="1092363" cy="721655"/>
              </a:xfrm>
              <a:prstGeom prst="roundRect">
                <a:avLst>
                  <a:gd name="adj" fmla="val 6255"/>
                </a:avLst>
              </a:prstGeom>
              <a:solidFill>
                <a:srgbClr val="00338D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  <p:sp>
            <p:nvSpPr>
              <p:cNvPr id="64" name="Rechteck 63">
                <a:extLst>
                  <a:ext uri="{FF2B5EF4-FFF2-40B4-BE49-F238E27FC236}">
                    <a16:creationId xmlns:a16="http://schemas.microsoft.com/office/drawing/2014/main" id="{5F9131AD-8024-11F7-9967-4C0BF95D1C8F}"/>
                  </a:ext>
                </a:extLst>
              </p:cNvPr>
              <p:cNvSpPr/>
              <p:nvPr/>
            </p:nvSpPr>
            <p:spPr>
              <a:xfrm>
                <a:off x="2307296" y="2177247"/>
                <a:ext cx="990460" cy="601097"/>
              </a:xfrm>
              <a:prstGeom prst="rect">
                <a:avLst/>
              </a:prstGeom>
              <a:solidFill>
                <a:srgbClr val="C8C8C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  <p:sp>
            <p:nvSpPr>
              <p:cNvPr id="65" name="Rechteck 64">
                <a:extLst>
                  <a:ext uri="{FF2B5EF4-FFF2-40B4-BE49-F238E27FC236}">
                    <a16:creationId xmlns:a16="http://schemas.microsoft.com/office/drawing/2014/main" id="{329F8AAF-B1F7-091C-3508-F066EF45893F}"/>
                  </a:ext>
                </a:extLst>
              </p:cNvPr>
              <p:cNvSpPr/>
              <p:nvPr/>
            </p:nvSpPr>
            <p:spPr>
              <a:xfrm>
                <a:off x="2306990" y="2685867"/>
                <a:ext cx="162014" cy="93034"/>
              </a:xfrm>
              <a:prstGeom prst="rect">
                <a:avLst/>
              </a:prstGeom>
              <a:solidFill>
                <a:srgbClr val="005EB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  <p:sp>
            <p:nvSpPr>
              <p:cNvPr id="66" name="Rechteck 65">
                <a:extLst>
                  <a:ext uri="{FF2B5EF4-FFF2-40B4-BE49-F238E27FC236}">
                    <a16:creationId xmlns:a16="http://schemas.microsoft.com/office/drawing/2014/main" id="{3C7D9BA6-8155-0358-BFFB-3CCBA3D4B6E2}"/>
                  </a:ext>
                </a:extLst>
              </p:cNvPr>
              <p:cNvSpPr/>
              <p:nvPr/>
            </p:nvSpPr>
            <p:spPr>
              <a:xfrm>
                <a:off x="2468823" y="2685867"/>
                <a:ext cx="830843" cy="93034"/>
              </a:xfrm>
              <a:prstGeom prst="rect">
                <a:avLst/>
              </a:prstGeom>
              <a:solidFill>
                <a:srgbClr val="0091D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  <p:sp>
            <p:nvSpPr>
              <p:cNvPr id="67" name="Rechteck 66">
                <a:extLst>
                  <a:ext uri="{FF2B5EF4-FFF2-40B4-BE49-F238E27FC236}">
                    <a16:creationId xmlns:a16="http://schemas.microsoft.com/office/drawing/2014/main" id="{292D1D7D-BE23-184A-5D4F-0B050A96954E}"/>
                  </a:ext>
                </a:extLst>
              </p:cNvPr>
              <p:cNvSpPr/>
              <p:nvPr/>
            </p:nvSpPr>
            <p:spPr>
              <a:xfrm>
                <a:off x="2382414" y="2438068"/>
                <a:ext cx="88350" cy="202840"/>
              </a:xfrm>
              <a:prstGeom prst="rect">
                <a:avLst/>
              </a:prstGeom>
              <a:solidFill>
                <a:srgbClr val="00338D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  <p:sp>
            <p:nvSpPr>
              <p:cNvPr id="68" name="Rechteck 67">
                <a:extLst>
                  <a:ext uri="{FF2B5EF4-FFF2-40B4-BE49-F238E27FC236}">
                    <a16:creationId xmlns:a16="http://schemas.microsoft.com/office/drawing/2014/main" id="{5D7E3DA1-29F3-E410-B254-E106BF802402}"/>
                  </a:ext>
                </a:extLst>
              </p:cNvPr>
              <p:cNvSpPr/>
              <p:nvPr/>
            </p:nvSpPr>
            <p:spPr>
              <a:xfrm>
                <a:off x="2495119" y="2547996"/>
                <a:ext cx="88350" cy="92912"/>
              </a:xfrm>
              <a:prstGeom prst="rect">
                <a:avLst/>
              </a:prstGeom>
              <a:solidFill>
                <a:srgbClr val="0091DA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  <p:sp>
            <p:nvSpPr>
              <p:cNvPr id="69" name="Rechteck 68">
                <a:extLst>
                  <a:ext uri="{FF2B5EF4-FFF2-40B4-BE49-F238E27FC236}">
                    <a16:creationId xmlns:a16="http://schemas.microsoft.com/office/drawing/2014/main" id="{1B237235-0017-AC2E-70A3-DCB44A8F63FE}"/>
                  </a:ext>
                </a:extLst>
              </p:cNvPr>
              <p:cNvSpPr/>
              <p:nvPr/>
            </p:nvSpPr>
            <p:spPr>
              <a:xfrm>
                <a:off x="2607825" y="2476351"/>
                <a:ext cx="88350" cy="164557"/>
              </a:xfrm>
              <a:prstGeom prst="rect">
                <a:avLst/>
              </a:prstGeom>
              <a:solidFill>
                <a:srgbClr val="C6007E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  <p:sp>
            <p:nvSpPr>
              <p:cNvPr id="70" name="Rechteck 69">
                <a:extLst>
                  <a:ext uri="{FF2B5EF4-FFF2-40B4-BE49-F238E27FC236}">
                    <a16:creationId xmlns:a16="http://schemas.microsoft.com/office/drawing/2014/main" id="{5EBB54ED-B216-3C96-74AA-0DAC0CD63A15}"/>
                  </a:ext>
                </a:extLst>
              </p:cNvPr>
              <p:cNvSpPr/>
              <p:nvPr/>
            </p:nvSpPr>
            <p:spPr>
              <a:xfrm>
                <a:off x="2382441" y="2275327"/>
                <a:ext cx="305862" cy="27742"/>
              </a:xfrm>
              <a:prstGeom prst="rect">
                <a:avLst/>
              </a:prstGeom>
              <a:solidFill>
                <a:srgbClr val="EAAA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  <p:sp>
            <p:nvSpPr>
              <p:cNvPr id="71" name="Rechteck 70">
                <a:extLst>
                  <a:ext uri="{FF2B5EF4-FFF2-40B4-BE49-F238E27FC236}">
                    <a16:creationId xmlns:a16="http://schemas.microsoft.com/office/drawing/2014/main" id="{007AB8FB-7F12-2786-3BA6-B833BC9F4F01}"/>
                  </a:ext>
                </a:extLst>
              </p:cNvPr>
              <p:cNvSpPr/>
              <p:nvPr/>
            </p:nvSpPr>
            <p:spPr>
              <a:xfrm>
                <a:off x="2382441" y="2324456"/>
                <a:ext cx="152914" cy="27742"/>
              </a:xfrm>
              <a:prstGeom prst="rect">
                <a:avLst/>
              </a:prstGeom>
              <a:solidFill>
                <a:srgbClr val="EAAA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  <p:sp>
            <p:nvSpPr>
              <p:cNvPr id="72" name="Ellipse 71">
                <a:extLst>
                  <a:ext uri="{FF2B5EF4-FFF2-40B4-BE49-F238E27FC236}">
                    <a16:creationId xmlns:a16="http://schemas.microsoft.com/office/drawing/2014/main" id="{028A0049-E847-E27B-668C-886A5CDD1D50}"/>
                  </a:ext>
                </a:extLst>
              </p:cNvPr>
              <p:cNvSpPr/>
              <p:nvPr/>
            </p:nvSpPr>
            <p:spPr>
              <a:xfrm>
                <a:off x="2771979" y="2783401"/>
                <a:ext cx="43690" cy="43690"/>
              </a:xfrm>
              <a:prstGeom prst="ellipse">
                <a:avLst/>
              </a:prstGeom>
              <a:solidFill>
                <a:srgbClr val="BC204B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  <p:sp>
            <p:nvSpPr>
              <p:cNvPr id="73" name="Ellipse 72">
                <a:extLst>
                  <a:ext uri="{FF2B5EF4-FFF2-40B4-BE49-F238E27FC236}">
                    <a16:creationId xmlns:a16="http://schemas.microsoft.com/office/drawing/2014/main" id="{CA35D7DA-C63B-D7A1-BCA7-1948648A525E}"/>
                  </a:ext>
                </a:extLst>
              </p:cNvPr>
              <p:cNvSpPr/>
              <p:nvPr/>
            </p:nvSpPr>
            <p:spPr>
              <a:xfrm>
                <a:off x="2782901" y="2133176"/>
                <a:ext cx="21845" cy="21845"/>
              </a:xfrm>
              <a:prstGeom prst="ellipse">
                <a:avLst/>
              </a:prstGeom>
              <a:solidFill>
                <a:srgbClr val="BC204B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59200">
                  <a:defRPr/>
                </a:pPr>
                <a:endParaRPr lang="en-US" sz="1415" kern="0">
                  <a:solidFill>
                    <a:srgbClr val="FFFFFF"/>
                  </a:solidFill>
                  <a:latin typeface="Univers for KPMG"/>
                </a:endParaRPr>
              </a:p>
            </p:txBody>
          </p:sp>
          <p:pic>
            <p:nvPicPr>
              <p:cNvPr id="74" name="Grafik 73">
                <a:extLst>
                  <a:ext uri="{FF2B5EF4-FFF2-40B4-BE49-F238E27FC236}">
                    <a16:creationId xmlns:a16="http://schemas.microsoft.com/office/drawing/2014/main" id="{67973C45-9D4D-35D3-EF5D-1490039939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863836" y="2138951"/>
                <a:ext cx="440437" cy="569977"/>
              </a:xfrm>
              <a:prstGeom prst="rect">
                <a:avLst/>
              </a:prstGeom>
            </p:spPr>
          </p:pic>
        </p:grpSp>
      </p:grpSp>
      <p:sp>
        <p:nvSpPr>
          <p:cNvPr id="93" name="object 3">
            <a:extLst>
              <a:ext uri="{FF2B5EF4-FFF2-40B4-BE49-F238E27FC236}">
                <a16:creationId xmlns:a16="http://schemas.microsoft.com/office/drawing/2014/main" id="{C0055425-C436-B479-32DC-8AE97D4DB912}"/>
              </a:ext>
            </a:extLst>
          </p:cNvPr>
          <p:cNvSpPr>
            <a:spLocks noChangeAspect="1"/>
          </p:cNvSpPr>
          <p:nvPr/>
        </p:nvSpPr>
        <p:spPr>
          <a:xfrm>
            <a:off x="7555870" y="2940153"/>
            <a:ext cx="1152360" cy="140340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98" name="Freeform 1059">
            <a:extLst>
              <a:ext uri="{FF2B5EF4-FFF2-40B4-BE49-F238E27FC236}">
                <a16:creationId xmlns:a16="http://schemas.microsoft.com/office/drawing/2014/main" id="{A00DF5AA-4D39-3143-AF7E-2A337B74C020}"/>
              </a:ext>
            </a:extLst>
          </p:cNvPr>
          <p:cNvSpPr>
            <a:spLocks noChangeAspect="1"/>
          </p:cNvSpPr>
          <p:nvPr/>
        </p:nvSpPr>
        <p:spPr bwMode="auto">
          <a:xfrm>
            <a:off x="5588792" y="4251740"/>
            <a:ext cx="301468" cy="299664"/>
          </a:xfrm>
          <a:custGeom>
            <a:avLst/>
            <a:gdLst>
              <a:gd name="T0" fmla="*/ 24705308 w 291737"/>
              <a:gd name="T1" fmla="*/ 30089725 h 290153"/>
              <a:gd name="T2" fmla="*/ 28308061 w 291737"/>
              <a:gd name="T3" fmla="*/ 28832498 h 290153"/>
              <a:gd name="T4" fmla="*/ 33922081 w 291737"/>
              <a:gd name="T5" fmla="*/ 33649645 h 290153"/>
              <a:gd name="T6" fmla="*/ 34270357 w 291737"/>
              <a:gd name="T7" fmla="*/ 28918532 h 290153"/>
              <a:gd name="T8" fmla="*/ 27350506 w 291737"/>
              <a:gd name="T9" fmla="*/ 34638894 h 290153"/>
              <a:gd name="T10" fmla="*/ 28308061 w 291737"/>
              <a:gd name="T11" fmla="*/ 28832498 h 290153"/>
              <a:gd name="T12" fmla="*/ 1081960 w 291737"/>
              <a:gd name="T13" fmla="*/ 33649645 h 290153"/>
              <a:gd name="T14" fmla="*/ 6709922 w 291737"/>
              <a:gd name="T15" fmla="*/ 28832498 h 290153"/>
              <a:gd name="T16" fmla="*/ 7618696 w 291737"/>
              <a:gd name="T17" fmla="*/ 34638894 h 290153"/>
              <a:gd name="T18" fmla="*/ 736160 w 291737"/>
              <a:gd name="T19" fmla="*/ 28918532 h 290153"/>
              <a:gd name="T20" fmla="*/ 30781099 w 291737"/>
              <a:gd name="T21" fmla="*/ 27891303 h 290153"/>
              <a:gd name="T22" fmla="*/ 2936767 w 291737"/>
              <a:gd name="T23" fmla="*/ 26700945 h 290153"/>
              <a:gd name="T24" fmla="*/ 30781099 w 291737"/>
              <a:gd name="T25" fmla="*/ 24447979 h 290153"/>
              <a:gd name="T26" fmla="*/ 30781099 w 291737"/>
              <a:gd name="T27" fmla="*/ 24447979 h 290153"/>
              <a:gd name="T28" fmla="*/ 1902883 w 291737"/>
              <a:gd name="T29" fmla="*/ 26700945 h 290153"/>
              <a:gd name="T30" fmla="*/ 27369878 w 291737"/>
              <a:gd name="T31" fmla="*/ 26474282 h 290153"/>
              <a:gd name="T32" fmla="*/ 22627718 w 291737"/>
              <a:gd name="T33" fmla="*/ 23369026 h 290153"/>
              <a:gd name="T34" fmla="*/ 12294498 w 291737"/>
              <a:gd name="T35" fmla="*/ 23369026 h 290153"/>
              <a:gd name="T36" fmla="*/ 7640213 w 291737"/>
              <a:gd name="T37" fmla="*/ 26474282 h 290153"/>
              <a:gd name="T38" fmla="*/ 14401236 w 291737"/>
              <a:gd name="T39" fmla="*/ 18957281 h 290153"/>
              <a:gd name="T40" fmla="*/ 19899009 w 291737"/>
              <a:gd name="T41" fmla="*/ 17666928 h 290153"/>
              <a:gd name="T42" fmla="*/ 21457473 w 291737"/>
              <a:gd name="T43" fmla="*/ 22226125 h 290153"/>
              <a:gd name="T44" fmla="*/ 13318979 w 291737"/>
              <a:gd name="T45" fmla="*/ 18957281 h 290153"/>
              <a:gd name="T46" fmla="*/ 16288762 w 291737"/>
              <a:gd name="T47" fmla="*/ 14929126 h 290153"/>
              <a:gd name="T48" fmla="*/ 17483738 w 291737"/>
              <a:gd name="T49" fmla="*/ 12697641 h 290153"/>
              <a:gd name="T50" fmla="*/ 17483738 w 291737"/>
              <a:gd name="T51" fmla="*/ 12697641 h 290153"/>
              <a:gd name="T52" fmla="*/ 30755440 w 291737"/>
              <a:gd name="T53" fmla="*/ 23078286 h 290153"/>
              <a:gd name="T54" fmla="*/ 4141870 w 291737"/>
              <a:gd name="T55" fmla="*/ 11560593 h 290153"/>
              <a:gd name="T56" fmla="*/ 3615327 w 291737"/>
              <a:gd name="T57" fmla="*/ 22605563 h 290153"/>
              <a:gd name="T58" fmla="*/ 25236505 w 291737"/>
              <a:gd name="T59" fmla="*/ 9693969 h 290153"/>
              <a:gd name="T60" fmla="*/ 21250209 w 291737"/>
              <a:gd name="T61" fmla="*/ 13617191 h 290153"/>
              <a:gd name="T62" fmla="*/ 10432547 w 291737"/>
              <a:gd name="T63" fmla="*/ 9693969 h 290153"/>
              <a:gd name="T64" fmla="*/ 12927022 w 291737"/>
              <a:gd name="T65" fmla="*/ 13617191 h 290153"/>
              <a:gd name="T66" fmla="*/ 24705308 w 291737"/>
              <a:gd name="T67" fmla="*/ 4548167 h 290153"/>
              <a:gd name="T68" fmla="*/ 9513575 w 291737"/>
              <a:gd name="T69" fmla="*/ 5094246 h 290153"/>
              <a:gd name="T70" fmla="*/ 27872794 w 291737"/>
              <a:gd name="T71" fmla="*/ 6448853 h 290153"/>
              <a:gd name="T72" fmla="*/ 33443329 w 291737"/>
              <a:gd name="T73" fmla="*/ 5072766 h 290153"/>
              <a:gd name="T74" fmla="*/ 34966443 w 291737"/>
              <a:gd name="T75" fmla="*/ 9675101 h 290153"/>
              <a:gd name="T76" fmla="*/ 26828356 w 291737"/>
              <a:gd name="T77" fmla="*/ 6448853 h 290153"/>
              <a:gd name="T78" fmla="*/ 1558184 w 291737"/>
              <a:gd name="T79" fmla="*/ 5072766 h 290153"/>
              <a:gd name="T80" fmla="*/ 7056113 w 291737"/>
              <a:gd name="T81" fmla="*/ 6448853 h 290153"/>
              <a:gd name="T82" fmla="*/ 8138465 w 291737"/>
              <a:gd name="T83" fmla="*/ 6448853 h 290153"/>
              <a:gd name="T84" fmla="*/ 0 w 291737"/>
              <a:gd name="T85" fmla="*/ 9675101 h 290153"/>
              <a:gd name="T86" fmla="*/ 30781099 w 291737"/>
              <a:gd name="T87" fmla="*/ 1062723 h 290153"/>
              <a:gd name="T88" fmla="*/ 30781099 w 291737"/>
              <a:gd name="T89" fmla="*/ 1062723 h 290153"/>
              <a:gd name="T90" fmla="*/ 5349275 w 291737"/>
              <a:gd name="T91" fmla="*/ 2252786 h 290153"/>
              <a:gd name="T92" fmla="*/ 30781099 w 291737"/>
              <a:gd name="T93" fmla="*/ 4506047 h 290153"/>
              <a:gd name="T94" fmla="*/ 6426123 w 291737"/>
              <a:gd name="T95" fmla="*/ 2252786 h 290153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291737" h="290153">
                <a:moveTo>
                  <a:pt x="83671" y="242888"/>
                </a:moveTo>
                <a:lnTo>
                  <a:pt x="206125" y="242888"/>
                </a:lnTo>
                <a:cubicBezTo>
                  <a:pt x="208631" y="242888"/>
                  <a:pt x="210779" y="245086"/>
                  <a:pt x="210779" y="247651"/>
                </a:cubicBezTo>
                <a:cubicBezTo>
                  <a:pt x="210779" y="250215"/>
                  <a:pt x="208631" y="252047"/>
                  <a:pt x="206125" y="252047"/>
                </a:cubicBezTo>
                <a:lnTo>
                  <a:pt x="83671" y="252047"/>
                </a:lnTo>
                <a:cubicBezTo>
                  <a:pt x="81523" y="252047"/>
                  <a:pt x="79375" y="250215"/>
                  <a:pt x="79375" y="247651"/>
                </a:cubicBezTo>
                <a:cubicBezTo>
                  <a:pt x="79375" y="245086"/>
                  <a:pt x="81523" y="242888"/>
                  <a:pt x="83671" y="242888"/>
                </a:cubicBezTo>
                <a:close/>
                <a:moveTo>
                  <a:pt x="236183" y="241515"/>
                </a:moveTo>
                <a:cubicBezTo>
                  <a:pt x="237998" y="242956"/>
                  <a:pt x="238361" y="245838"/>
                  <a:pt x="236546" y="248000"/>
                </a:cubicBezTo>
                <a:cubicBezTo>
                  <a:pt x="233641" y="250882"/>
                  <a:pt x="232552" y="254845"/>
                  <a:pt x="232552" y="258808"/>
                </a:cubicBezTo>
                <a:lnTo>
                  <a:pt x="232552" y="281866"/>
                </a:lnTo>
                <a:lnTo>
                  <a:pt x="283023" y="281866"/>
                </a:lnTo>
                <a:lnTo>
                  <a:pt x="283023" y="258808"/>
                </a:lnTo>
                <a:cubicBezTo>
                  <a:pt x="283023" y="254845"/>
                  <a:pt x="281570" y="250882"/>
                  <a:pt x="279029" y="248000"/>
                </a:cubicBezTo>
                <a:cubicBezTo>
                  <a:pt x="277213" y="245838"/>
                  <a:pt x="277939" y="242956"/>
                  <a:pt x="279392" y="241515"/>
                </a:cubicBezTo>
                <a:cubicBezTo>
                  <a:pt x="281570" y="239713"/>
                  <a:pt x="284475" y="240074"/>
                  <a:pt x="285928" y="242235"/>
                </a:cubicBezTo>
                <a:cubicBezTo>
                  <a:pt x="289559" y="246559"/>
                  <a:pt x="291737" y="252683"/>
                  <a:pt x="291737" y="258808"/>
                </a:cubicBezTo>
                <a:lnTo>
                  <a:pt x="291737" y="285830"/>
                </a:lnTo>
                <a:cubicBezTo>
                  <a:pt x="291737" y="288712"/>
                  <a:pt x="289922" y="290153"/>
                  <a:pt x="287743" y="290153"/>
                </a:cubicBezTo>
                <a:lnTo>
                  <a:pt x="228194" y="290153"/>
                </a:lnTo>
                <a:cubicBezTo>
                  <a:pt x="226016" y="290153"/>
                  <a:pt x="223837" y="288712"/>
                  <a:pt x="223837" y="285830"/>
                </a:cubicBezTo>
                <a:lnTo>
                  <a:pt x="223837" y="258808"/>
                </a:lnTo>
                <a:cubicBezTo>
                  <a:pt x="223837" y="252683"/>
                  <a:pt x="226016" y="246559"/>
                  <a:pt x="229647" y="242235"/>
                </a:cubicBezTo>
                <a:cubicBezTo>
                  <a:pt x="231462" y="240074"/>
                  <a:pt x="234367" y="239713"/>
                  <a:pt x="236183" y="241515"/>
                </a:cubicBezTo>
                <a:close/>
                <a:moveTo>
                  <a:pt x="12280" y="241515"/>
                </a:moveTo>
                <a:cubicBezTo>
                  <a:pt x="14447" y="242956"/>
                  <a:pt x="14808" y="245838"/>
                  <a:pt x="13002" y="248000"/>
                </a:cubicBezTo>
                <a:cubicBezTo>
                  <a:pt x="10835" y="250882"/>
                  <a:pt x="9029" y="254845"/>
                  <a:pt x="9029" y="258808"/>
                </a:cubicBezTo>
                <a:lnTo>
                  <a:pt x="9029" y="281866"/>
                </a:lnTo>
                <a:lnTo>
                  <a:pt x="59232" y="281866"/>
                </a:lnTo>
                <a:lnTo>
                  <a:pt x="59232" y="258808"/>
                </a:lnTo>
                <a:cubicBezTo>
                  <a:pt x="59232" y="254845"/>
                  <a:pt x="57788" y="250882"/>
                  <a:pt x="55259" y="248000"/>
                </a:cubicBezTo>
                <a:cubicBezTo>
                  <a:pt x="53454" y="245838"/>
                  <a:pt x="54176" y="242956"/>
                  <a:pt x="55982" y="241515"/>
                </a:cubicBezTo>
                <a:cubicBezTo>
                  <a:pt x="57788" y="239713"/>
                  <a:pt x="60677" y="240074"/>
                  <a:pt x="61761" y="242235"/>
                </a:cubicBezTo>
                <a:cubicBezTo>
                  <a:pt x="65734" y="246559"/>
                  <a:pt x="67901" y="252683"/>
                  <a:pt x="67901" y="258808"/>
                </a:cubicBezTo>
                <a:lnTo>
                  <a:pt x="67901" y="285830"/>
                </a:lnTo>
                <a:cubicBezTo>
                  <a:pt x="67901" y="288712"/>
                  <a:pt x="65734" y="290153"/>
                  <a:pt x="63566" y="290153"/>
                </a:cubicBezTo>
                <a:lnTo>
                  <a:pt x="4695" y="290153"/>
                </a:lnTo>
                <a:cubicBezTo>
                  <a:pt x="2528" y="290153"/>
                  <a:pt x="0" y="288712"/>
                  <a:pt x="0" y="285830"/>
                </a:cubicBezTo>
                <a:lnTo>
                  <a:pt x="0" y="258808"/>
                </a:lnTo>
                <a:cubicBezTo>
                  <a:pt x="0" y="252683"/>
                  <a:pt x="2528" y="246559"/>
                  <a:pt x="6140" y="242235"/>
                </a:cubicBezTo>
                <a:cubicBezTo>
                  <a:pt x="7946" y="240074"/>
                  <a:pt x="10835" y="239713"/>
                  <a:pt x="12280" y="241515"/>
                </a:cubicBezTo>
                <a:close/>
                <a:moveTo>
                  <a:pt x="256816" y="213690"/>
                </a:moveTo>
                <a:cubicBezTo>
                  <a:pt x="251065" y="213690"/>
                  <a:pt x="246752" y="217963"/>
                  <a:pt x="246752" y="223660"/>
                </a:cubicBezTo>
                <a:cubicBezTo>
                  <a:pt x="246752" y="229357"/>
                  <a:pt x="251065" y="233630"/>
                  <a:pt x="256816" y="233630"/>
                </a:cubicBezTo>
                <a:cubicBezTo>
                  <a:pt x="262926" y="233630"/>
                  <a:pt x="267599" y="229357"/>
                  <a:pt x="267599" y="223660"/>
                </a:cubicBezTo>
                <a:cubicBezTo>
                  <a:pt x="267599" y="217963"/>
                  <a:pt x="262926" y="213690"/>
                  <a:pt x="256816" y="213690"/>
                </a:cubicBezTo>
                <a:close/>
                <a:moveTo>
                  <a:pt x="34565" y="213690"/>
                </a:moveTo>
                <a:cubicBezTo>
                  <a:pt x="29174" y="213690"/>
                  <a:pt x="24501" y="217963"/>
                  <a:pt x="24501" y="223660"/>
                </a:cubicBezTo>
                <a:cubicBezTo>
                  <a:pt x="24501" y="229357"/>
                  <a:pt x="29174" y="233630"/>
                  <a:pt x="34565" y="233630"/>
                </a:cubicBezTo>
                <a:cubicBezTo>
                  <a:pt x="40316" y="233630"/>
                  <a:pt x="44629" y="229357"/>
                  <a:pt x="44629" y="223660"/>
                </a:cubicBezTo>
                <a:cubicBezTo>
                  <a:pt x="44629" y="217963"/>
                  <a:pt x="40316" y="213690"/>
                  <a:pt x="34565" y="213690"/>
                </a:cubicBezTo>
                <a:close/>
                <a:moveTo>
                  <a:pt x="256816" y="204788"/>
                </a:moveTo>
                <a:cubicBezTo>
                  <a:pt x="267599" y="204788"/>
                  <a:pt x="275866" y="213334"/>
                  <a:pt x="275866" y="223660"/>
                </a:cubicBezTo>
                <a:cubicBezTo>
                  <a:pt x="275866" y="234342"/>
                  <a:pt x="267599" y="242532"/>
                  <a:pt x="256816" y="242532"/>
                </a:cubicBezTo>
                <a:cubicBezTo>
                  <a:pt x="246752" y="242532"/>
                  <a:pt x="238125" y="234342"/>
                  <a:pt x="238125" y="223660"/>
                </a:cubicBezTo>
                <a:cubicBezTo>
                  <a:pt x="238125" y="213334"/>
                  <a:pt x="246752" y="204788"/>
                  <a:pt x="256816" y="204788"/>
                </a:cubicBezTo>
                <a:close/>
                <a:moveTo>
                  <a:pt x="34565" y="204788"/>
                </a:moveTo>
                <a:cubicBezTo>
                  <a:pt x="45348" y="204788"/>
                  <a:pt x="53615" y="213334"/>
                  <a:pt x="53615" y="223660"/>
                </a:cubicBezTo>
                <a:cubicBezTo>
                  <a:pt x="53615" y="234342"/>
                  <a:pt x="45348" y="242532"/>
                  <a:pt x="34565" y="242532"/>
                </a:cubicBezTo>
                <a:cubicBezTo>
                  <a:pt x="24142" y="242532"/>
                  <a:pt x="15875" y="234342"/>
                  <a:pt x="15875" y="223660"/>
                </a:cubicBezTo>
                <a:cubicBezTo>
                  <a:pt x="15875" y="213334"/>
                  <a:pt x="24142" y="204788"/>
                  <a:pt x="34565" y="204788"/>
                </a:cubicBezTo>
                <a:close/>
                <a:moveTo>
                  <a:pt x="188791" y="189157"/>
                </a:moveTo>
                <a:cubicBezTo>
                  <a:pt x="190622" y="187325"/>
                  <a:pt x="193553" y="187325"/>
                  <a:pt x="195385" y="189157"/>
                </a:cubicBezTo>
                <a:lnTo>
                  <a:pt x="228356" y="221762"/>
                </a:lnTo>
                <a:cubicBezTo>
                  <a:pt x="229821" y="223960"/>
                  <a:pt x="229821" y="226891"/>
                  <a:pt x="228356" y="228356"/>
                </a:cubicBezTo>
                <a:cubicBezTo>
                  <a:pt x="226890" y="229089"/>
                  <a:pt x="226157" y="229822"/>
                  <a:pt x="225058" y="229822"/>
                </a:cubicBezTo>
                <a:cubicBezTo>
                  <a:pt x="223593" y="229822"/>
                  <a:pt x="222860" y="229089"/>
                  <a:pt x="222128" y="228356"/>
                </a:cubicBezTo>
                <a:lnTo>
                  <a:pt x="188791" y="195751"/>
                </a:lnTo>
                <a:cubicBezTo>
                  <a:pt x="187325" y="193553"/>
                  <a:pt x="187325" y="190622"/>
                  <a:pt x="188791" y="189157"/>
                </a:cubicBezTo>
                <a:close/>
                <a:moveTo>
                  <a:pt x="96349" y="189157"/>
                </a:moveTo>
                <a:cubicBezTo>
                  <a:pt x="98180" y="187325"/>
                  <a:pt x="100745" y="187325"/>
                  <a:pt x="102577" y="189157"/>
                </a:cubicBezTo>
                <a:cubicBezTo>
                  <a:pt x="104408" y="190622"/>
                  <a:pt x="104408" y="193553"/>
                  <a:pt x="102577" y="195751"/>
                </a:cubicBezTo>
                <a:lnTo>
                  <a:pt x="69971" y="228356"/>
                </a:lnTo>
                <a:cubicBezTo>
                  <a:pt x="68872" y="229089"/>
                  <a:pt x="67773" y="229822"/>
                  <a:pt x="66674" y="229822"/>
                </a:cubicBezTo>
                <a:cubicBezTo>
                  <a:pt x="65575" y="229822"/>
                  <a:pt x="64476" y="229089"/>
                  <a:pt x="63744" y="228356"/>
                </a:cubicBezTo>
                <a:cubicBezTo>
                  <a:pt x="61912" y="226891"/>
                  <a:pt x="61912" y="223960"/>
                  <a:pt x="63744" y="221762"/>
                </a:cubicBezTo>
                <a:lnTo>
                  <a:pt x="96349" y="189157"/>
                </a:lnTo>
                <a:close/>
                <a:moveTo>
                  <a:pt x="123405" y="141862"/>
                </a:moveTo>
                <a:cubicBezTo>
                  <a:pt x="125572" y="142943"/>
                  <a:pt x="125572" y="145825"/>
                  <a:pt x="123766" y="147987"/>
                </a:cubicBezTo>
                <a:cubicBezTo>
                  <a:pt x="121599" y="150509"/>
                  <a:pt x="120154" y="154832"/>
                  <a:pt x="120154" y="158795"/>
                </a:cubicBezTo>
                <a:lnTo>
                  <a:pt x="120154" y="181493"/>
                </a:lnTo>
                <a:lnTo>
                  <a:pt x="169996" y="181493"/>
                </a:lnTo>
                <a:lnTo>
                  <a:pt x="169996" y="158795"/>
                </a:lnTo>
                <a:cubicBezTo>
                  <a:pt x="169996" y="154832"/>
                  <a:pt x="168913" y="150509"/>
                  <a:pt x="166023" y="147987"/>
                </a:cubicBezTo>
                <a:cubicBezTo>
                  <a:pt x="164217" y="145825"/>
                  <a:pt x="164940" y="142943"/>
                  <a:pt x="166746" y="141862"/>
                </a:cubicBezTo>
                <a:cubicBezTo>
                  <a:pt x="168552" y="140061"/>
                  <a:pt x="171802" y="140421"/>
                  <a:pt x="172886" y="142222"/>
                </a:cubicBezTo>
                <a:cubicBezTo>
                  <a:pt x="176498" y="146546"/>
                  <a:pt x="179026" y="152670"/>
                  <a:pt x="179026" y="158795"/>
                </a:cubicBezTo>
                <a:lnTo>
                  <a:pt x="179026" y="186177"/>
                </a:lnTo>
                <a:cubicBezTo>
                  <a:pt x="179026" y="188699"/>
                  <a:pt x="176859" y="190140"/>
                  <a:pt x="174691" y="190140"/>
                </a:cubicBezTo>
                <a:lnTo>
                  <a:pt x="115820" y="190140"/>
                </a:lnTo>
                <a:cubicBezTo>
                  <a:pt x="113292" y="190140"/>
                  <a:pt x="111125" y="188699"/>
                  <a:pt x="111125" y="186177"/>
                </a:cubicBezTo>
                <a:lnTo>
                  <a:pt x="111125" y="158795"/>
                </a:lnTo>
                <a:cubicBezTo>
                  <a:pt x="111125" y="152670"/>
                  <a:pt x="113292" y="146546"/>
                  <a:pt x="117265" y="142222"/>
                </a:cubicBezTo>
                <a:cubicBezTo>
                  <a:pt x="118709" y="140421"/>
                  <a:pt x="121599" y="139700"/>
                  <a:pt x="123405" y="141862"/>
                </a:cubicBezTo>
                <a:close/>
                <a:moveTo>
                  <a:pt x="145872" y="114990"/>
                </a:moveTo>
                <a:cubicBezTo>
                  <a:pt x="140175" y="114990"/>
                  <a:pt x="135902" y="119662"/>
                  <a:pt x="135902" y="125054"/>
                </a:cubicBezTo>
                <a:cubicBezTo>
                  <a:pt x="135902" y="130805"/>
                  <a:pt x="140175" y="135118"/>
                  <a:pt x="145872" y="135118"/>
                </a:cubicBezTo>
                <a:cubicBezTo>
                  <a:pt x="151569" y="135118"/>
                  <a:pt x="155842" y="130805"/>
                  <a:pt x="155842" y="125054"/>
                </a:cubicBezTo>
                <a:cubicBezTo>
                  <a:pt x="155842" y="119662"/>
                  <a:pt x="151569" y="114990"/>
                  <a:pt x="145872" y="114990"/>
                </a:cubicBezTo>
                <a:close/>
                <a:moveTo>
                  <a:pt x="145872" y="106363"/>
                </a:moveTo>
                <a:cubicBezTo>
                  <a:pt x="156554" y="106363"/>
                  <a:pt x="164744" y="114271"/>
                  <a:pt x="164744" y="125054"/>
                </a:cubicBezTo>
                <a:cubicBezTo>
                  <a:pt x="164744" y="135477"/>
                  <a:pt x="156554" y="144104"/>
                  <a:pt x="145872" y="144104"/>
                </a:cubicBezTo>
                <a:cubicBezTo>
                  <a:pt x="135546" y="144104"/>
                  <a:pt x="127000" y="135477"/>
                  <a:pt x="127000" y="125054"/>
                </a:cubicBezTo>
                <a:cubicBezTo>
                  <a:pt x="127000" y="114271"/>
                  <a:pt x="135546" y="106363"/>
                  <a:pt x="145872" y="106363"/>
                </a:cubicBezTo>
                <a:close/>
                <a:moveTo>
                  <a:pt x="256603" y="96838"/>
                </a:moveTo>
                <a:cubicBezTo>
                  <a:pt x="259270" y="96838"/>
                  <a:pt x="261556" y="98998"/>
                  <a:pt x="261556" y="101158"/>
                </a:cubicBezTo>
                <a:lnTo>
                  <a:pt x="261556" y="189355"/>
                </a:lnTo>
                <a:cubicBezTo>
                  <a:pt x="261556" y="191875"/>
                  <a:pt x="259270" y="193315"/>
                  <a:pt x="256603" y="193315"/>
                </a:cubicBezTo>
                <a:cubicBezTo>
                  <a:pt x="254317" y="193315"/>
                  <a:pt x="252412" y="191875"/>
                  <a:pt x="252412" y="189355"/>
                </a:cubicBezTo>
                <a:lnTo>
                  <a:pt x="252412" y="101158"/>
                </a:lnTo>
                <a:cubicBezTo>
                  <a:pt x="252412" y="98998"/>
                  <a:pt x="254317" y="96838"/>
                  <a:pt x="256603" y="96838"/>
                </a:cubicBezTo>
                <a:close/>
                <a:moveTo>
                  <a:pt x="34558" y="96838"/>
                </a:moveTo>
                <a:cubicBezTo>
                  <a:pt x="37122" y="96838"/>
                  <a:pt x="39320" y="98998"/>
                  <a:pt x="39320" y="101158"/>
                </a:cubicBezTo>
                <a:lnTo>
                  <a:pt x="39320" y="189355"/>
                </a:lnTo>
                <a:cubicBezTo>
                  <a:pt x="39320" y="191875"/>
                  <a:pt x="37122" y="193315"/>
                  <a:pt x="34558" y="193315"/>
                </a:cubicBezTo>
                <a:cubicBezTo>
                  <a:pt x="31993" y="193315"/>
                  <a:pt x="30162" y="191875"/>
                  <a:pt x="30162" y="189355"/>
                </a:cubicBezTo>
                <a:lnTo>
                  <a:pt x="30162" y="101158"/>
                </a:lnTo>
                <a:cubicBezTo>
                  <a:pt x="30162" y="98998"/>
                  <a:pt x="31993" y="96838"/>
                  <a:pt x="34558" y="96838"/>
                </a:cubicBezTo>
                <a:close/>
                <a:moveTo>
                  <a:pt x="204410" y="81201"/>
                </a:moveTo>
                <a:cubicBezTo>
                  <a:pt x="206218" y="79375"/>
                  <a:pt x="208387" y="79375"/>
                  <a:pt x="210556" y="81201"/>
                </a:cubicBezTo>
                <a:cubicBezTo>
                  <a:pt x="212364" y="82661"/>
                  <a:pt x="212364" y="85582"/>
                  <a:pt x="210556" y="87408"/>
                </a:cubicBezTo>
                <a:lnTo>
                  <a:pt x="184166" y="114063"/>
                </a:lnTo>
                <a:cubicBezTo>
                  <a:pt x="183081" y="114793"/>
                  <a:pt x="181996" y="115523"/>
                  <a:pt x="180912" y="115523"/>
                </a:cubicBezTo>
                <a:cubicBezTo>
                  <a:pt x="179466" y="115523"/>
                  <a:pt x="178743" y="114793"/>
                  <a:pt x="177297" y="114063"/>
                </a:cubicBezTo>
                <a:cubicBezTo>
                  <a:pt x="176212" y="112602"/>
                  <a:pt x="176212" y="109681"/>
                  <a:pt x="177297" y="107855"/>
                </a:cubicBezTo>
                <a:lnTo>
                  <a:pt x="204410" y="81201"/>
                </a:lnTo>
                <a:close/>
                <a:moveTo>
                  <a:pt x="80835" y="81201"/>
                </a:moveTo>
                <a:cubicBezTo>
                  <a:pt x="82661" y="79375"/>
                  <a:pt x="85947" y="79375"/>
                  <a:pt x="87042" y="81201"/>
                </a:cubicBezTo>
                <a:lnTo>
                  <a:pt x="114061" y="107855"/>
                </a:lnTo>
                <a:cubicBezTo>
                  <a:pt x="115522" y="109681"/>
                  <a:pt x="115522" y="112602"/>
                  <a:pt x="114061" y="114063"/>
                </a:cubicBezTo>
                <a:cubicBezTo>
                  <a:pt x="113331" y="114793"/>
                  <a:pt x="111870" y="115523"/>
                  <a:pt x="111140" y="115523"/>
                </a:cubicBezTo>
                <a:cubicBezTo>
                  <a:pt x="109680" y="115523"/>
                  <a:pt x="108584" y="114793"/>
                  <a:pt x="107854" y="114063"/>
                </a:cubicBezTo>
                <a:lnTo>
                  <a:pt x="80835" y="87408"/>
                </a:lnTo>
                <a:cubicBezTo>
                  <a:pt x="79375" y="85582"/>
                  <a:pt x="79375" y="82661"/>
                  <a:pt x="80835" y="81201"/>
                </a:cubicBezTo>
                <a:close/>
                <a:moveTo>
                  <a:pt x="83671" y="38100"/>
                </a:moveTo>
                <a:lnTo>
                  <a:pt x="206125" y="38100"/>
                </a:lnTo>
                <a:cubicBezTo>
                  <a:pt x="208631" y="38100"/>
                  <a:pt x="210779" y="40386"/>
                  <a:pt x="210779" y="42672"/>
                </a:cubicBezTo>
                <a:cubicBezTo>
                  <a:pt x="210779" y="45339"/>
                  <a:pt x="208631" y="47244"/>
                  <a:pt x="206125" y="47244"/>
                </a:cubicBezTo>
                <a:lnTo>
                  <a:pt x="83671" y="47244"/>
                </a:lnTo>
                <a:cubicBezTo>
                  <a:pt x="81523" y="47244"/>
                  <a:pt x="79375" y="45339"/>
                  <a:pt x="79375" y="42672"/>
                </a:cubicBezTo>
                <a:cubicBezTo>
                  <a:pt x="79375" y="40386"/>
                  <a:pt x="81523" y="38100"/>
                  <a:pt x="83671" y="38100"/>
                </a:cubicBezTo>
                <a:close/>
                <a:moveTo>
                  <a:pt x="236183" y="36366"/>
                </a:moveTo>
                <a:cubicBezTo>
                  <a:pt x="237998" y="38167"/>
                  <a:pt x="238361" y="41050"/>
                  <a:pt x="236546" y="42491"/>
                </a:cubicBezTo>
                <a:cubicBezTo>
                  <a:pt x="233641" y="45733"/>
                  <a:pt x="232552" y="50057"/>
                  <a:pt x="232552" y="54020"/>
                </a:cubicBezTo>
                <a:lnTo>
                  <a:pt x="232552" y="76718"/>
                </a:lnTo>
                <a:lnTo>
                  <a:pt x="283023" y="76718"/>
                </a:lnTo>
                <a:lnTo>
                  <a:pt x="283023" y="54020"/>
                </a:lnTo>
                <a:cubicBezTo>
                  <a:pt x="283023" y="50057"/>
                  <a:pt x="281570" y="45733"/>
                  <a:pt x="279029" y="42491"/>
                </a:cubicBezTo>
                <a:cubicBezTo>
                  <a:pt x="277213" y="41050"/>
                  <a:pt x="277939" y="38167"/>
                  <a:pt x="279392" y="36366"/>
                </a:cubicBezTo>
                <a:cubicBezTo>
                  <a:pt x="281570" y="34925"/>
                  <a:pt x="284475" y="35285"/>
                  <a:pt x="285928" y="37447"/>
                </a:cubicBezTo>
                <a:cubicBezTo>
                  <a:pt x="289559" y="41770"/>
                  <a:pt x="291737" y="47895"/>
                  <a:pt x="291737" y="54020"/>
                </a:cubicBezTo>
                <a:lnTo>
                  <a:pt x="291737" y="81042"/>
                </a:lnTo>
                <a:cubicBezTo>
                  <a:pt x="291737" y="83924"/>
                  <a:pt x="289922" y="85365"/>
                  <a:pt x="287743" y="85365"/>
                </a:cubicBezTo>
                <a:lnTo>
                  <a:pt x="228194" y="85365"/>
                </a:lnTo>
                <a:cubicBezTo>
                  <a:pt x="226016" y="85365"/>
                  <a:pt x="223837" y="83924"/>
                  <a:pt x="223837" y="81042"/>
                </a:cubicBezTo>
                <a:lnTo>
                  <a:pt x="223837" y="54020"/>
                </a:lnTo>
                <a:cubicBezTo>
                  <a:pt x="223837" y="47895"/>
                  <a:pt x="226016" y="41770"/>
                  <a:pt x="229647" y="37447"/>
                </a:cubicBezTo>
                <a:cubicBezTo>
                  <a:pt x="231462" y="35285"/>
                  <a:pt x="234367" y="34925"/>
                  <a:pt x="236183" y="36366"/>
                </a:cubicBezTo>
                <a:close/>
                <a:moveTo>
                  <a:pt x="12280" y="36366"/>
                </a:moveTo>
                <a:cubicBezTo>
                  <a:pt x="14447" y="38167"/>
                  <a:pt x="14808" y="41050"/>
                  <a:pt x="13002" y="42491"/>
                </a:cubicBezTo>
                <a:cubicBezTo>
                  <a:pt x="10835" y="45733"/>
                  <a:pt x="9029" y="50057"/>
                  <a:pt x="9029" y="54020"/>
                </a:cubicBezTo>
                <a:lnTo>
                  <a:pt x="9029" y="76718"/>
                </a:lnTo>
                <a:lnTo>
                  <a:pt x="58871" y="76718"/>
                </a:lnTo>
                <a:lnTo>
                  <a:pt x="58871" y="54020"/>
                </a:lnTo>
                <a:cubicBezTo>
                  <a:pt x="58871" y="50057"/>
                  <a:pt x="57788" y="45733"/>
                  <a:pt x="55259" y="42491"/>
                </a:cubicBezTo>
                <a:cubicBezTo>
                  <a:pt x="53454" y="41050"/>
                  <a:pt x="54176" y="38167"/>
                  <a:pt x="55982" y="36366"/>
                </a:cubicBezTo>
                <a:cubicBezTo>
                  <a:pt x="57788" y="34925"/>
                  <a:pt x="60677" y="35285"/>
                  <a:pt x="61761" y="37447"/>
                </a:cubicBezTo>
                <a:cubicBezTo>
                  <a:pt x="65734" y="41770"/>
                  <a:pt x="67901" y="47895"/>
                  <a:pt x="67901" y="54020"/>
                </a:cubicBezTo>
                <a:lnTo>
                  <a:pt x="67901" y="81042"/>
                </a:lnTo>
                <a:cubicBezTo>
                  <a:pt x="67901" y="83924"/>
                  <a:pt x="65734" y="85365"/>
                  <a:pt x="63566" y="85365"/>
                </a:cubicBezTo>
                <a:lnTo>
                  <a:pt x="4695" y="85365"/>
                </a:lnTo>
                <a:cubicBezTo>
                  <a:pt x="2528" y="85365"/>
                  <a:pt x="0" y="83924"/>
                  <a:pt x="0" y="81042"/>
                </a:cubicBezTo>
                <a:lnTo>
                  <a:pt x="0" y="54020"/>
                </a:lnTo>
                <a:cubicBezTo>
                  <a:pt x="0" y="47895"/>
                  <a:pt x="2528" y="41770"/>
                  <a:pt x="6140" y="37447"/>
                </a:cubicBezTo>
                <a:cubicBezTo>
                  <a:pt x="7946" y="35285"/>
                  <a:pt x="10835" y="34925"/>
                  <a:pt x="12280" y="36366"/>
                </a:cubicBezTo>
                <a:close/>
                <a:moveTo>
                  <a:pt x="256816" y="8902"/>
                </a:moveTo>
                <a:cubicBezTo>
                  <a:pt x="251065" y="8902"/>
                  <a:pt x="246752" y="13175"/>
                  <a:pt x="246752" y="18872"/>
                </a:cubicBezTo>
                <a:cubicBezTo>
                  <a:pt x="246752" y="24569"/>
                  <a:pt x="251065" y="29198"/>
                  <a:pt x="256816" y="29198"/>
                </a:cubicBezTo>
                <a:cubicBezTo>
                  <a:pt x="262926" y="29198"/>
                  <a:pt x="267599" y="24569"/>
                  <a:pt x="267599" y="18872"/>
                </a:cubicBezTo>
                <a:cubicBezTo>
                  <a:pt x="267599" y="13175"/>
                  <a:pt x="262926" y="8902"/>
                  <a:pt x="256816" y="8902"/>
                </a:cubicBezTo>
                <a:close/>
                <a:moveTo>
                  <a:pt x="34565" y="8902"/>
                </a:moveTo>
                <a:cubicBezTo>
                  <a:pt x="29174" y="8902"/>
                  <a:pt x="24501" y="13175"/>
                  <a:pt x="24501" y="18872"/>
                </a:cubicBezTo>
                <a:cubicBezTo>
                  <a:pt x="24501" y="24569"/>
                  <a:pt x="29174" y="29198"/>
                  <a:pt x="34565" y="29198"/>
                </a:cubicBezTo>
                <a:cubicBezTo>
                  <a:pt x="40316" y="29198"/>
                  <a:pt x="44629" y="24569"/>
                  <a:pt x="44629" y="18872"/>
                </a:cubicBezTo>
                <a:cubicBezTo>
                  <a:pt x="44629" y="13175"/>
                  <a:pt x="40316" y="8902"/>
                  <a:pt x="34565" y="8902"/>
                </a:cubicBezTo>
                <a:close/>
                <a:moveTo>
                  <a:pt x="256816" y="0"/>
                </a:moveTo>
                <a:cubicBezTo>
                  <a:pt x="267599" y="0"/>
                  <a:pt x="275866" y="8189"/>
                  <a:pt x="275866" y="18872"/>
                </a:cubicBezTo>
                <a:cubicBezTo>
                  <a:pt x="275866" y="29198"/>
                  <a:pt x="267599" y="37744"/>
                  <a:pt x="256816" y="37744"/>
                </a:cubicBezTo>
                <a:cubicBezTo>
                  <a:pt x="246752" y="37744"/>
                  <a:pt x="238125" y="29198"/>
                  <a:pt x="238125" y="18872"/>
                </a:cubicBezTo>
                <a:cubicBezTo>
                  <a:pt x="238125" y="8189"/>
                  <a:pt x="246752" y="0"/>
                  <a:pt x="256816" y="0"/>
                </a:cubicBezTo>
                <a:close/>
                <a:moveTo>
                  <a:pt x="34565" y="0"/>
                </a:moveTo>
                <a:cubicBezTo>
                  <a:pt x="45348" y="0"/>
                  <a:pt x="53615" y="8189"/>
                  <a:pt x="53615" y="18872"/>
                </a:cubicBezTo>
                <a:cubicBezTo>
                  <a:pt x="53615" y="29198"/>
                  <a:pt x="45348" y="37744"/>
                  <a:pt x="34565" y="37744"/>
                </a:cubicBezTo>
                <a:cubicBezTo>
                  <a:pt x="24142" y="37744"/>
                  <a:pt x="15875" y="29198"/>
                  <a:pt x="15875" y="18872"/>
                </a:cubicBezTo>
                <a:cubicBezTo>
                  <a:pt x="15875" y="8189"/>
                  <a:pt x="24142" y="0"/>
                  <a:pt x="3456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de-DE" sz="506">
              <a:latin typeface="Lato Light" panose="020F0502020204030203" pitchFamily="34" charset="0"/>
            </a:endParaRPr>
          </a:p>
        </p:txBody>
      </p:sp>
      <p:sp>
        <p:nvSpPr>
          <p:cNvPr id="99" name="Textfeld 98">
            <a:extLst>
              <a:ext uri="{FF2B5EF4-FFF2-40B4-BE49-F238E27FC236}">
                <a16:creationId xmlns:a16="http://schemas.microsoft.com/office/drawing/2014/main" id="{7CA6CAFF-CEC2-4A01-C0F8-B8936BDA0311}"/>
              </a:ext>
            </a:extLst>
          </p:cNvPr>
          <p:cNvSpPr txBox="1"/>
          <p:nvPr/>
        </p:nvSpPr>
        <p:spPr>
          <a:xfrm>
            <a:off x="4753728" y="2865744"/>
            <a:ext cx="163298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100" b="1">
                <a:solidFill>
                  <a:schemeClr val="bg1"/>
                </a:solidFill>
                <a:latin typeface="+mj-lt"/>
              </a:rPr>
              <a:t>Lieferantenentwicklung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DB5D9308-2278-79AA-65D7-9500E074700A}"/>
              </a:ext>
            </a:extLst>
          </p:cNvPr>
          <p:cNvSpPr/>
          <p:nvPr/>
        </p:nvSpPr>
        <p:spPr>
          <a:xfrm>
            <a:off x="4530948" y="2886244"/>
            <a:ext cx="2115687" cy="39722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>
              <a:buClr>
                <a:srgbClr val="EFEFEF"/>
              </a:buClr>
            </a:pPr>
            <a:endParaRPr lang="de-DE" sz="1000">
              <a:solidFill>
                <a:schemeClr val="bg1"/>
              </a:solidFill>
              <a:latin typeface="+mj-lt"/>
            </a:endParaRPr>
          </a:p>
          <a:p>
            <a:pPr marL="136525" indent="-136525">
              <a:buClr>
                <a:srgbClr val="EFEFEF"/>
              </a:buClr>
              <a:buFont typeface="Arial" panose="020B0604020202020204" pitchFamily="34" charset="0"/>
              <a:buChar char="•"/>
            </a:pPr>
            <a:r>
              <a:rPr lang="de-DE" sz="1000">
                <a:solidFill>
                  <a:schemeClr val="bg1"/>
                </a:solidFill>
                <a:latin typeface="+mj-lt"/>
              </a:rPr>
              <a:t>Ableitung von verschiedenen Entwicklungsmaßnahmen</a:t>
            </a:r>
            <a:endParaRPr lang="de-DE" sz="1000">
              <a:solidFill>
                <a:schemeClr val="bg1"/>
              </a:solidFill>
              <a:latin typeface="+mj-lt"/>
              <a:cs typeface="Arial"/>
            </a:endParaRPr>
          </a:p>
          <a:p>
            <a:pPr marL="136525" indent="-136525">
              <a:buClr>
                <a:srgbClr val="EFEFEF"/>
              </a:buClr>
              <a:buFont typeface="Arial" panose="020B0604020202020204" pitchFamily="34" charset="0"/>
              <a:buChar char="•"/>
            </a:pPr>
            <a:r>
              <a:rPr lang="de-DE" sz="1000">
                <a:solidFill>
                  <a:schemeClr val="bg1"/>
                </a:solidFill>
                <a:latin typeface="+mj-lt"/>
              </a:rPr>
              <a:t>Dokumentation, Reporting und Tracking</a:t>
            </a:r>
            <a:endParaRPr lang="de-DE" sz="1000">
              <a:solidFill>
                <a:schemeClr val="bg1"/>
              </a:solidFill>
              <a:latin typeface="+mj-lt"/>
              <a:cs typeface="Arial"/>
            </a:endParaRPr>
          </a:p>
        </p:txBody>
      </p:sp>
      <p:sp>
        <p:nvSpPr>
          <p:cNvPr id="102" name="Freeform 1050">
            <a:extLst>
              <a:ext uri="{FF2B5EF4-FFF2-40B4-BE49-F238E27FC236}">
                <a16:creationId xmlns:a16="http://schemas.microsoft.com/office/drawing/2014/main" id="{30BA2E8A-7C70-C566-CA93-FA5DFE2C8449}"/>
              </a:ext>
            </a:extLst>
          </p:cNvPr>
          <p:cNvSpPr>
            <a:spLocks noChangeAspect="1"/>
          </p:cNvSpPr>
          <p:nvPr/>
        </p:nvSpPr>
        <p:spPr bwMode="auto">
          <a:xfrm>
            <a:off x="4067894" y="4012672"/>
            <a:ext cx="327740" cy="328742"/>
          </a:xfrm>
          <a:custGeom>
            <a:avLst/>
            <a:gdLst>
              <a:gd name="T0" fmla="*/ 8566536 w 285390"/>
              <a:gd name="T1" fmla="*/ 21933707 h 286653"/>
              <a:gd name="T2" fmla="*/ 7463951 w 285390"/>
              <a:gd name="T3" fmla="*/ 21933707 h 286653"/>
              <a:gd name="T4" fmla="*/ 6017276 w 285390"/>
              <a:gd name="T5" fmla="*/ 13126476 h 286653"/>
              <a:gd name="T6" fmla="*/ 10009290 w 285390"/>
              <a:gd name="T7" fmla="*/ 23529356 h 286653"/>
              <a:gd name="T8" fmla="*/ 6017276 w 285390"/>
              <a:gd name="T9" fmla="*/ 13126476 h 286653"/>
              <a:gd name="T10" fmla="*/ 11107136 w 285390"/>
              <a:gd name="T11" fmla="*/ 4164476 h 286653"/>
              <a:gd name="T12" fmla="*/ 11107136 w 285390"/>
              <a:gd name="T13" fmla="*/ 5207456 h 286653"/>
              <a:gd name="T14" fmla="*/ 1041307 w 285390"/>
              <a:gd name="T15" fmla="*/ 27850884 h 286653"/>
              <a:gd name="T16" fmla="*/ 6638396 w 285390"/>
              <a:gd name="T17" fmla="*/ 28415863 h 286653"/>
              <a:gd name="T18" fmla="*/ 15575913 w 285390"/>
              <a:gd name="T19" fmla="*/ 27894347 h 286653"/>
              <a:gd name="T20" fmla="*/ 33408084 w 285390"/>
              <a:gd name="T21" fmla="*/ 27850884 h 286653"/>
              <a:gd name="T22" fmla="*/ 23906270 w 285390"/>
              <a:gd name="T23" fmla="*/ 5207456 h 286653"/>
              <a:gd name="T24" fmla="*/ 23906270 w 285390"/>
              <a:gd name="T25" fmla="*/ 4164476 h 286653"/>
              <a:gd name="T26" fmla="*/ 34405847 w 285390"/>
              <a:gd name="T27" fmla="*/ 4642474 h 286653"/>
              <a:gd name="T28" fmla="*/ 33928661 w 285390"/>
              <a:gd name="T29" fmla="*/ 28893943 h 286653"/>
              <a:gd name="T30" fmla="*/ 6377903 w 285390"/>
              <a:gd name="T31" fmla="*/ 34413585 h 286653"/>
              <a:gd name="T32" fmla="*/ 5857299 w 285390"/>
              <a:gd name="T33" fmla="*/ 34413585 h 286653"/>
              <a:gd name="T34" fmla="*/ 5553392 w 285390"/>
              <a:gd name="T35" fmla="*/ 28893943 h 286653"/>
              <a:gd name="T36" fmla="*/ 0 w 285390"/>
              <a:gd name="T37" fmla="*/ 28415863 h 286653"/>
              <a:gd name="T38" fmla="*/ 564149 w 285390"/>
              <a:gd name="T39" fmla="*/ 4164476 h 286653"/>
              <a:gd name="T40" fmla="*/ 15780011 w 285390"/>
              <a:gd name="T41" fmla="*/ 1126446 h 286653"/>
              <a:gd name="T42" fmla="*/ 12786178 w 285390"/>
              <a:gd name="T43" fmla="*/ 10105055 h 286653"/>
              <a:gd name="T44" fmla="*/ 11050528 w 285390"/>
              <a:gd name="T45" fmla="*/ 23529356 h 286653"/>
              <a:gd name="T46" fmla="*/ 25021974 w 285390"/>
              <a:gd name="T47" fmla="*/ 23529356 h 286653"/>
              <a:gd name="T48" fmla="*/ 26497389 w 285390"/>
              <a:gd name="T49" fmla="*/ 20939548 h 286653"/>
              <a:gd name="T50" fmla="*/ 26844443 w 285390"/>
              <a:gd name="T51" fmla="*/ 20162408 h 286653"/>
              <a:gd name="T52" fmla="*/ 27842350 w 285390"/>
              <a:gd name="T53" fmla="*/ 17227350 h 286653"/>
              <a:gd name="T54" fmla="*/ 27885899 w 285390"/>
              <a:gd name="T55" fmla="*/ 16493273 h 286653"/>
              <a:gd name="T56" fmla="*/ 27625404 w 285390"/>
              <a:gd name="T57" fmla="*/ 13773970 h 286653"/>
              <a:gd name="T58" fmla="*/ 27625404 w 285390"/>
              <a:gd name="T59" fmla="*/ 12694864 h 286653"/>
              <a:gd name="T60" fmla="*/ 27104827 w 285390"/>
              <a:gd name="T61" fmla="*/ 9673295 h 286653"/>
              <a:gd name="T62" fmla="*/ 19424914 w 285390"/>
              <a:gd name="T63" fmla="*/ 9457488 h 286653"/>
              <a:gd name="T64" fmla="*/ 19728493 w 285390"/>
              <a:gd name="T65" fmla="*/ 4925091 h 286653"/>
              <a:gd name="T66" fmla="*/ 17255297 w 285390"/>
              <a:gd name="T67" fmla="*/ 4053 h 286653"/>
              <a:gd name="T68" fmla="*/ 20466100 w 285390"/>
              <a:gd name="T69" fmla="*/ 8637175 h 286653"/>
              <a:gd name="T70" fmla="*/ 29491223 w 285390"/>
              <a:gd name="T71" fmla="*/ 11184161 h 286653"/>
              <a:gd name="T72" fmla="*/ 29621413 w 285390"/>
              <a:gd name="T73" fmla="*/ 15068955 h 286653"/>
              <a:gd name="T74" fmla="*/ 29361065 w 285390"/>
              <a:gd name="T75" fmla="*/ 18435991 h 286653"/>
              <a:gd name="T76" fmla="*/ 27755573 w 285390"/>
              <a:gd name="T77" fmla="*/ 21759610 h 286653"/>
              <a:gd name="T78" fmla="*/ 24978677 w 285390"/>
              <a:gd name="T79" fmla="*/ 24565475 h 286653"/>
              <a:gd name="T80" fmla="*/ 4975843 w 285390"/>
              <a:gd name="T81" fmla="*/ 24004275 h 286653"/>
              <a:gd name="T82" fmla="*/ 5496957 w 285390"/>
              <a:gd name="T83" fmla="*/ 12090624 h 286653"/>
              <a:gd name="T84" fmla="*/ 12005071 w 285390"/>
              <a:gd name="T85" fmla="*/ 9414177 h 286653"/>
              <a:gd name="T86" fmla="*/ 14652019 w 285390"/>
              <a:gd name="T87" fmla="*/ 910506 h 286653"/>
              <a:gd name="T88" fmla="*/ 17255297 w 285390"/>
              <a:gd name="T89" fmla="*/ 4053 h 28665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85390" h="286653">
                <a:moveTo>
                  <a:pt x="66104" y="177476"/>
                </a:moveTo>
                <a:cubicBezTo>
                  <a:pt x="68771" y="177476"/>
                  <a:pt x="71057" y="179674"/>
                  <a:pt x="71057" y="182239"/>
                </a:cubicBezTo>
                <a:cubicBezTo>
                  <a:pt x="71057" y="184803"/>
                  <a:pt x="68771" y="186635"/>
                  <a:pt x="66104" y="186635"/>
                </a:cubicBezTo>
                <a:cubicBezTo>
                  <a:pt x="63818" y="186635"/>
                  <a:pt x="61913" y="184803"/>
                  <a:pt x="61913" y="182239"/>
                </a:cubicBezTo>
                <a:cubicBezTo>
                  <a:pt x="61913" y="179674"/>
                  <a:pt x="63818" y="177476"/>
                  <a:pt x="66104" y="177476"/>
                </a:cubicBezTo>
                <a:close/>
                <a:moveTo>
                  <a:pt x="49913" y="109064"/>
                </a:moveTo>
                <a:lnTo>
                  <a:pt x="49913" y="195498"/>
                </a:lnTo>
                <a:lnTo>
                  <a:pt x="83025" y="195498"/>
                </a:lnTo>
                <a:lnTo>
                  <a:pt x="83025" y="109064"/>
                </a:lnTo>
                <a:lnTo>
                  <a:pt x="49913" y="109064"/>
                </a:lnTo>
                <a:close/>
                <a:moveTo>
                  <a:pt x="4679" y="34601"/>
                </a:moveTo>
                <a:lnTo>
                  <a:pt x="92131" y="34601"/>
                </a:lnTo>
                <a:cubicBezTo>
                  <a:pt x="94650" y="34601"/>
                  <a:pt x="96450" y="36768"/>
                  <a:pt x="96450" y="38573"/>
                </a:cubicBezTo>
                <a:cubicBezTo>
                  <a:pt x="96450" y="41101"/>
                  <a:pt x="94650" y="43268"/>
                  <a:pt x="92131" y="43268"/>
                </a:cubicBezTo>
                <a:lnTo>
                  <a:pt x="8637" y="43268"/>
                </a:lnTo>
                <a:lnTo>
                  <a:pt x="8637" y="231404"/>
                </a:lnTo>
                <a:lnTo>
                  <a:pt x="50744" y="231404"/>
                </a:lnTo>
                <a:cubicBezTo>
                  <a:pt x="52903" y="231404"/>
                  <a:pt x="55063" y="233571"/>
                  <a:pt x="55063" y="236098"/>
                </a:cubicBezTo>
                <a:lnTo>
                  <a:pt x="55063" y="274376"/>
                </a:lnTo>
                <a:lnTo>
                  <a:pt x="129199" y="231765"/>
                </a:lnTo>
                <a:cubicBezTo>
                  <a:pt x="129919" y="231404"/>
                  <a:pt x="130639" y="231404"/>
                  <a:pt x="131719" y="231404"/>
                </a:cubicBezTo>
                <a:lnTo>
                  <a:pt x="277113" y="231404"/>
                </a:lnTo>
                <a:lnTo>
                  <a:pt x="277113" y="43268"/>
                </a:lnTo>
                <a:lnTo>
                  <a:pt x="198298" y="43268"/>
                </a:lnTo>
                <a:cubicBezTo>
                  <a:pt x="196138" y="43268"/>
                  <a:pt x="193979" y="41101"/>
                  <a:pt x="193979" y="38573"/>
                </a:cubicBezTo>
                <a:cubicBezTo>
                  <a:pt x="193979" y="36768"/>
                  <a:pt x="196138" y="34601"/>
                  <a:pt x="198298" y="34601"/>
                </a:cubicBezTo>
                <a:lnTo>
                  <a:pt x="281432" y="34601"/>
                </a:lnTo>
                <a:cubicBezTo>
                  <a:pt x="283951" y="34601"/>
                  <a:pt x="285390" y="36768"/>
                  <a:pt x="285390" y="38573"/>
                </a:cubicBezTo>
                <a:lnTo>
                  <a:pt x="285390" y="236098"/>
                </a:lnTo>
                <a:cubicBezTo>
                  <a:pt x="285390" y="237904"/>
                  <a:pt x="283951" y="240070"/>
                  <a:pt x="281432" y="240070"/>
                </a:cubicBezTo>
                <a:lnTo>
                  <a:pt x="132438" y="240070"/>
                </a:lnTo>
                <a:lnTo>
                  <a:pt x="52903" y="285931"/>
                </a:lnTo>
                <a:cubicBezTo>
                  <a:pt x="52184" y="286292"/>
                  <a:pt x="51464" y="286653"/>
                  <a:pt x="50744" y="286653"/>
                </a:cubicBezTo>
                <a:cubicBezTo>
                  <a:pt x="49664" y="286653"/>
                  <a:pt x="49305" y="286292"/>
                  <a:pt x="48585" y="285931"/>
                </a:cubicBezTo>
                <a:cubicBezTo>
                  <a:pt x="46785" y="285209"/>
                  <a:pt x="46066" y="283403"/>
                  <a:pt x="46066" y="282320"/>
                </a:cubicBezTo>
                <a:lnTo>
                  <a:pt x="46066" y="240070"/>
                </a:lnTo>
                <a:lnTo>
                  <a:pt x="4679" y="240070"/>
                </a:lnTo>
                <a:cubicBezTo>
                  <a:pt x="2159" y="240070"/>
                  <a:pt x="0" y="237904"/>
                  <a:pt x="0" y="236098"/>
                </a:cubicBezTo>
                <a:lnTo>
                  <a:pt x="0" y="38573"/>
                </a:lnTo>
                <a:cubicBezTo>
                  <a:pt x="0" y="36768"/>
                  <a:pt x="2159" y="34601"/>
                  <a:pt x="4679" y="34601"/>
                </a:cubicBezTo>
                <a:close/>
                <a:moveTo>
                  <a:pt x="142769" y="9001"/>
                </a:moveTo>
                <a:cubicBezTo>
                  <a:pt x="137011" y="8283"/>
                  <a:pt x="133052" y="9001"/>
                  <a:pt x="130892" y="9359"/>
                </a:cubicBezTo>
                <a:cubicBezTo>
                  <a:pt x="132692" y="17608"/>
                  <a:pt x="135931" y="37334"/>
                  <a:pt x="132692" y="45942"/>
                </a:cubicBezTo>
                <a:cubicBezTo>
                  <a:pt x="127653" y="60646"/>
                  <a:pt x="115776" y="73199"/>
                  <a:pt x="106059" y="83959"/>
                </a:cubicBezTo>
                <a:cubicBezTo>
                  <a:pt x="98861" y="92207"/>
                  <a:pt x="91662" y="99739"/>
                  <a:pt x="91662" y="104760"/>
                </a:cubicBezTo>
                <a:lnTo>
                  <a:pt x="91662" y="195498"/>
                </a:lnTo>
                <a:lnTo>
                  <a:pt x="207193" y="195498"/>
                </a:lnTo>
                <a:cubicBezTo>
                  <a:pt x="207553" y="195498"/>
                  <a:pt x="207553" y="195498"/>
                  <a:pt x="207553" y="195498"/>
                </a:cubicBezTo>
                <a:cubicBezTo>
                  <a:pt x="215831" y="194781"/>
                  <a:pt x="221949" y="188325"/>
                  <a:pt x="221949" y="180793"/>
                </a:cubicBezTo>
                <a:cubicBezTo>
                  <a:pt x="221949" y="178642"/>
                  <a:pt x="220870" y="176131"/>
                  <a:pt x="219790" y="173979"/>
                </a:cubicBezTo>
                <a:cubicBezTo>
                  <a:pt x="219070" y="172903"/>
                  <a:pt x="219070" y="171110"/>
                  <a:pt x="219790" y="170034"/>
                </a:cubicBezTo>
                <a:cubicBezTo>
                  <a:pt x="220150" y="168599"/>
                  <a:pt x="221589" y="167882"/>
                  <a:pt x="222669" y="167523"/>
                </a:cubicBezTo>
                <a:cubicBezTo>
                  <a:pt x="229507" y="165730"/>
                  <a:pt x="234906" y="160351"/>
                  <a:pt x="234906" y="153178"/>
                </a:cubicBezTo>
                <a:cubicBezTo>
                  <a:pt x="234906" y="149591"/>
                  <a:pt x="233106" y="146005"/>
                  <a:pt x="230947" y="143135"/>
                </a:cubicBezTo>
                <a:cubicBezTo>
                  <a:pt x="229507" y="142418"/>
                  <a:pt x="229147" y="140984"/>
                  <a:pt x="229507" y="139908"/>
                </a:cubicBezTo>
                <a:cubicBezTo>
                  <a:pt x="229507" y="138832"/>
                  <a:pt x="230227" y="137397"/>
                  <a:pt x="231307" y="137038"/>
                </a:cubicBezTo>
                <a:cubicBezTo>
                  <a:pt x="235266" y="133811"/>
                  <a:pt x="237425" y="129865"/>
                  <a:pt x="237425" y="125203"/>
                </a:cubicBezTo>
                <a:cubicBezTo>
                  <a:pt x="237425" y="117671"/>
                  <a:pt x="232387" y="114444"/>
                  <a:pt x="229147" y="114444"/>
                </a:cubicBezTo>
                <a:cubicBezTo>
                  <a:pt x="226628" y="114444"/>
                  <a:pt x="224829" y="112292"/>
                  <a:pt x="224829" y="109781"/>
                </a:cubicBezTo>
                <a:cubicBezTo>
                  <a:pt x="224829" y="107629"/>
                  <a:pt x="226628" y="105477"/>
                  <a:pt x="229147" y="105477"/>
                </a:cubicBezTo>
                <a:cubicBezTo>
                  <a:pt x="230947" y="105477"/>
                  <a:pt x="235626" y="102250"/>
                  <a:pt x="235626" y="92925"/>
                </a:cubicBezTo>
                <a:cubicBezTo>
                  <a:pt x="235626" y="85393"/>
                  <a:pt x="229867" y="80372"/>
                  <a:pt x="224829" y="80372"/>
                </a:cubicBezTo>
                <a:lnTo>
                  <a:pt x="164364" y="80372"/>
                </a:lnTo>
                <a:cubicBezTo>
                  <a:pt x="162924" y="80372"/>
                  <a:pt x="161485" y="80013"/>
                  <a:pt x="161125" y="78579"/>
                </a:cubicBezTo>
                <a:cubicBezTo>
                  <a:pt x="160045" y="77503"/>
                  <a:pt x="160045" y="76068"/>
                  <a:pt x="160405" y="74634"/>
                </a:cubicBezTo>
                <a:cubicBezTo>
                  <a:pt x="161485" y="69971"/>
                  <a:pt x="164724" y="56701"/>
                  <a:pt x="163644" y="40921"/>
                </a:cubicBezTo>
                <a:cubicBezTo>
                  <a:pt x="161485" y="22629"/>
                  <a:pt x="152847" y="9359"/>
                  <a:pt x="142769" y="9001"/>
                </a:cubicBezTo>
                <a:close/>
                <a:moveTo>
                  <a:pt x="143129" y="34"/>
                </a:moveTo>
                <a:cubicBezTo>
                  <a:pt x="157886" y="752"/>
                  <a:pt x="169763" y="16891"/>
                  <a:pt x="172282" y="40203"/>
                </a:cubicBezTo>
                <a:cubicBezTo>
                  <a:pt x="173362" y="53115"/>
                  <a:pt x="171562" y="64592"/>
                  <a:pt x="169763" y="71764"/>
                </a:cubicBezTo>
                <a:lnTo>
                  <a:pt x="224829" y="71764"/>
                </a:lnTo>
                <a:cubicBezTo>
                  <a:pt x="235266" y="71764"/>
                  <a:pt x="244623" y="81448"/>
                  <a:pt x="244623" y="92925"/>
                </a:cubicBezTo>
                <a:cubicBezTo>
                  <a:pt x="244623" y="100098"/>
                  <a:pt x="242104" y="105477"/>
                  <a:pt x="238865" y="109064"/>
                </a:cubicBezTo>
                <a:cubicBezTo>
                  <a:pt x="243184" y="112650"/>
                  <a:pt x="245703" y="118030"/>
                  <a:pt x="245703" y="125203"/>
                </a:cubicBezTo>
                <a:cubicBezTo>
                  <a:pt x="245703" y="130941"/>
                  <a:pt x="243904" y="136680"/>
                  <a:pt x="239585" y="140984"/>
                </a:cubicBezTo>
                <a:cubicBezTo>
                  <a:pt x="242104" y="144570"/>
                  <a:pt x="243544" y="148874"/>
                  <a:pt x="243544" y="153178"/>
                </a:cubicBezTo>
                <a:cubicBezTo>
                  <a:pt x="243544" y="162144"/>
                  <a:pt x="237785" y="170751"/>
                  <a:pt x="229507" y="174338"/>
                </a:cubicBezTo>
                <a:cubicBezTo>
                  <a:pt x="229867" y="176490"/>
                  <a:pt x="230227" y="178642"/>
                  <a:pt x="230227" y="180793"/>
                </a:cubicBezTo>
                <a:cubicBezTo>
                  <a:pt x="230227" y="192988"/>
                  <a:pt x="220870" y="202671"/>
                  <a:pt x="208633" y="203747"/>
                </a:cubicBezTo>
                <a:cubicBezTo>
                  <a:pt x="208273" y="204106"/>
                  <a:pt x="207553" y="204106"/>
                  <a:pt x="207193" y="204106"/>
                </a:cubicBezTo>
                <a:lnTo>
                  <a:pt x="45594" y="204106"/>
                </a:lnTo>
                <a:cubicBezTo>
                  <a:pt x="43075" y="204106"/>
                  <a:pt x="41275" y="201954"/>
                  <a:pt x="41275" y="199443"/>
                </a:cubicBezTo>
                <a:lnTo>
                  <a:pt x="41275" y="104760"/>
                </a:lnTo>
                <a:cubicBezTo>
                  <a:pt x="41275" y="102250"/>
                  <a:pt x="43075" y="100456"/>
                  <a:pt x="45594" y="100456"/>
                </a:cubicBezTo>
                <a:lnTo>
                  <a:pt x="83384" y="100456"/>
                </a:lnTo>
                <a:cubicBezTo>
                  <a:pt x="85544" y="93642"/>
                  <a:pt x="92022" y="86828"/>
                  <a:pt x="99580" y="78220"/>
                </a:cubicBezTo>
                <a:cubicBezTo>
                  <a:pt x="109298" y="67819"/>
                  <a:pt x="120095" y="55984"/>
                  <a:pt x="124414" y="42355"/>
                </a:cubicBezTo>
                <a:cubicBezTo>
                  <a:pt x="126933" y="36976"/>
                  <a:pt x="124054" y="17608"/>
                  <a:pt x="121535" y="7566"/>
                </a:cubicBezTo>
                <a:cubicBezTo>
                  <a:pt x="121175" y="5773"/>
                  <a:pt x="122614" y="3621"/>
                  <a:pt x="123694" y="2904"/>
                </a:cubicBezTo>
                <a:cubicBezTo>
                  <a:pt x="124414" y="2186"/>
                  <a:pt x="129813" y="-324"/>
                  <a:pt x="143129" y="3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de-DE" sz="506">
              <a:latin typeface="Lato Light" panose="020F0502020204030203" pitchFamily="34" charset="0"/>
            </a:endParaRPr>
          </a:p>
        </p:txBody>
      </p:sp>
      <p:sp>
        <p:nvSpPr>
          <p:cNvPr id="103" name="Textfeld 102">
            <a:extLst>
              <a:ext uri="{FF2B5EF4-FFF2-40B4-BE49-F238E27FC236}">
                <a16:creationId xmlns:a16="http://schemas.microsoft.com/office/drawing/2014/main" id="{EC032A36-596A-430B-059F-B47E1EA22FB0}"/>
              </a:ext>
            </a:extLst>
          </p:cNvPr>
          <p:cNvSpPr txBox="1"/>
          <p:nvPr/>
        </p:nvSpPr>
        <p:spPr>
          <a:xfrm>
            <a:off x="3120381" y="2916017"/>
            <a:ext cx="1451619" cy="1731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125" b="1">
                <a:solidFill>
                  <a:schemeClr val="bg1"/>
                </a:solidFill>
                <a:latin typeface="HamburgSans TTF Regular" panose="020B0503040000020003" pitchFamily="34" charset="77"/>
              </a:rPr>
              <a:t>Lieferantenauditierung</a:t>
            </a: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F637BE52-DFA6-E83C-85EB-9A1981BD4EAA}"/>
              </a:ext>
            </a:extLst>
          </p:cNvPr>
          <p:cNvSpPr/>
          <p:nvPr/>
        </p:nvSpPr>
        <p:spPr>
          <a:xfrm>
            <a:off x="4576894" y="943748"/>
            <a:ext cx="2291602" cy="177236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>
              <a:buClr>
                <a:schemeClr val="bg1"/>
              </a:buClr>
            </a:pPr>
            <a:endParaRPr lang="de-DE" sz="1400">
              <a:solidFill>
                <a:schemeClr val="bg1"/>
              </a:solidFill>
              <a:latin typeface="+mj-lt"/>
            </a:endParaRPr>
          </a:p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de-DE" sz="600">
              <a:solidFill>
                <a:schemeClr val="bg1"/>
              </a:solidFill>
              <a:latin typeface="+mj-lt"/>
            </a:endParaRPr>
          </a:p>
          <a:p>
            <a:pPr marL="182245" indent="-182245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de-DE" sz="1000">
                <a:solidFill>
                  <a:schemeClr val="bg1"/>
                </a:solidFill>
                <a:latin typeface="+mj-lt"/>
              </a:rPr>
              <a:t>Kontinuierliche Erfassung der Qualität der Leistungserbringung</a:t>
            </a:r>
            <a:endParaRPr lang="de-DE" sz="1000">
              <a:solidFill>
                <a:schemeClr val="bg1"/>
              </a:solidFill>
              <a:latin typeface="+mj-lt"/>
              <a:cs typeface="Arial"/>
            </a:endParaRPr>
          </a:p>
          <a:p>
            <a:pPr marL="182245" indent="-182245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de-DE" sz="1000">
                <a:solidFill>
                  <a:schemeClr val="bg1"/>
                </a:solidFill>
                <a:latin typeface="+mj-lt"/>
              </a:rPr>
              <a:t>Regelmäßige u. anlassbezogene Bewertungen der erbrachten Leistungen (fachlich &amp; kaufmännisch)</a:t>
            </a:r>
            <a:endParaRPr lang="de-DE" sz="1000">
              <a:solidFill>
                <a:schemeClr val="bg1"/>
              </a:solidFill>
              <a:latin typeface="+mj-lt"/>
              <a:cs typeface="Arial"/>
            </a:endParaRPr>
          </a:p>
          <a:p>
            <a:pPr marL="182245" indent="-182245">
              <a:buClr>
                <a:srgbClr val="FFFFFF"/>
              </a:buClr>
              <a:buFont typeface="Arial" panose="020B0604020202020204" pitchFamily="34" charset="0"/>
              <a:buChar char="•"/>
            </a:pPr>
            <a:r>
              <a:rPr lang="de-DE" sz="1000">
                <a:solidFill>
                  <a:schemeClr val="bg1"/>
                </a:solidFill>
                <a:latin typeface="+mj-lt"/>
              </a:rPr>
              <a:t>Konsolidierung und </a:t>
            </a:r>
            <a:endParaRPr lang="de-DE" sz="1000">
              <a:solidFill>
                <a:schemeClr val="bg1"/>
              </a:solidFill>
              <a:latin typeface="+mj-lt"/>
              <a:cs typeface="Arial"/>
            </a:endParaRPr>
          </a:p>
          <a:p>
            <a:pPr>
              <a:buClr>
                <a:schemeClr val="bg1"/>
              </a:buClr>
            </a:pPr>
            <a:r>
              <a:rPr lang="de-DE" sz="1000">
                <a:solidFill>
                  <a:schemeClr val="bg1"/>
                </a:solidFill>
                <a:latin typeface="+mj-lt"/>
              </a:rPr>
              <a:t>     Aufbereitung Ergebnisse</a:t>
            </a:r>
            <a:endParaRPr lang="de-DE" sz="1000">
              <a:solidFill>
                <a:schemeClr val="bg1"/>
              </a:solidFill>
              <a:latin typeface="+mj-lt"/>
              <a:cs typeface="Arial"/>
            </a:endParaRPr>
          </a:p>
        </p:txBody>
      </p:sp>
      <p:sp>
        <p:nvSpPr>
          <p:cNvPr id="122" name="Textfeld 121">
            <a:extLst>
              <a:ext uri="{FF2B5EF4-FFF2-40B4-BE49-F238E27FC236}">
                <a16:creationId xmlns:a16="http://schemas.microsoft.com/office/drawing/2014/main" id="{D0A152E4-EEC4-CE19-2343-3F732AFA1E2A}"/>
              </a:ext>
            </a:extLst>
          </p:cNvPr>
          <p:cNvSpPr txBox="1"/>
          <p:nvPr/>
        </p:nvSpPr>
        <p:spPr>
          <a:xfrm>
            <a:off x="2520737" y="1076459"/>
            <a:ext cx="199090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100" b="1" i="0" baseline="0">
                <a:solidFill>
                  <a:schemeClr val="bg1"/>
                </a:solidFill>
                <a:latin typeface="+mj-lt"/>
              </a:rPr>
              <a:t>Lieferantenregistrierung</a:t>
            </a: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2061D0C1-0090-2F95-778A-36EAADEB9CCA}"/>
              </a:ext>
            </a:extLst>
          </p:cNvPr>
          <p:cNvSpPr/>
          <p:nvPr/>
        </p:nvSpPr>
        <p:spPr>
          <a:xfrm>
            <a:off x="2228789" y="1263780"/>
            <a:ext cx="2344226" cy="177503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de-DE" sz="1000">
                <a:solidFill>
                  <a:schemeClr val="bg1"/>
                </a:solidFill>
              </a:rPr>
              <a:t>Basisregistrierung / Interessensbekundung</a:t>
            </a:r>
          </a:p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de-DE" sz="1000">
                <a:solidFill>
                  <a:schemeClr val="bg1"/>
                </a:solidFill>
              </a:rPr>
              <a:t>Formale Eignungsprüfung</a:t>
            </a:r>
            <a:endParaRPr lang="de-DE" sz="1000">
              <a:solidFill>
                <a:schemeClr val="bg1"/>
              </a:solidFill>
              <a:cs typeface="Arial"/>
            </a:endParaRPr>
          </a:p>
          <a:p>
            <a:pPr marL="171450" indent="-17145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de-DE" sz="1000">
                <a:solidFill>
                  <a:schemeClr val="bg1"/>
                </a:solidFill>
              </a:rPr>
              <a:t>Eigenverantwortliche &amp; fortlaufende Aktualisierung von Daten</a:t>
            </a:r>
            <a:endParaRPr lang="de-DE" sz="1000">
              <a:solidFill>
                <a:schemeClr val="bg1"/>
              </a:solidFill>
              <a:cs typeface="Arial"/>
            </a:endParaRPr>
          </a:p>
          <a:p>
            <a:pPr marL="171450" indent="-171450">
              <a:buClr>
                <a:srgbClr val="FFFFFF"/>
              </a:buClr>
              <a:buFont typeface="Arial" panose="020B0604020202020204" pitchFamily="34" charset="0"/>
              <a:buChar char="•"/>
            </a:pPr>
            <a:r>
              <a:rPr lang="de-DE" sz="1000">
                <a:solidFill>
                  <a:schemeClr val="bg1"/>
                </a:solidFill>
                <a:cs typeface="Arial"/>
              </a:rPr>
              <a:t>Qualifizierungssysteme (HPA)</a:t>
            </a:r>
          </a:p>
        </p:txBody>
      </p:sp>
      <p:sp>
        <p:nvSpPr>
          <p:cNvPr id="125" name="Freeform 1051">
            <a:extLst>
              <a:ext uri="{FF2B5EF4-FFF2-40B4-BE49-F238E27FC236}">
                <a16:creationId xmlns:a16="http://schemas.microsoft.com/office/drawing/2014/main" id="{0AC9A974-877D-C14E-05AF-EEA6A715E7E4}"/>
              </a:ext>
            </a:extLst>
          </p:cNvPr>
          <p:cNvSpPr>
            <a:spLocks noChangeAspect="1"/>
          </p:cNvSpPr>
          <p:nvPr/>
        </p:nvSpPr>
        <p:spPr bwMode="auto">
          <a:xfrm>
            <a:off x="5570219" y="703711"/>
            <a:ext cx="320041" cy="320041"/>
          </a:xfrm>
          <a:custGeom>
            <a:avLst/>
            <a:gdLst>
              <a:gd name="T0" fmla="*/ 23283854 w 285390"/>
              <a:gd name="T1" fmla="*/ 31132927 h 285391"/>
              <a:gd name="T2" fmla="*/ 27288610 w 285390"/>
              <a:gd name="T3" fmla="*/ 31937716 h 285391"/>
              <a:gd name="T4" fmla="*/ 27288610 w 285390"/>
              <a:gd name="T5" fmla="*/ 28845632 h 285391"/>
              <a:gd name="T6" fmla="*/ 22772721 w 285390"/>
              <a:gd name="T7" fmla="*/ 24313469 h 285391"/>
              <a:gd name="T8" fmla="*/ 22559662 w 285390"/>
              <a:gd name="T9" fmla="*/ 30455201 h 285391"/>
              <a:gd name="T10" fmla="*/ 22772721 w 285390"/>
              <a:gd name="T11" fmla="*/ 24313469 h 285391"/>
              <a:gd name="T12" fmla="*/ 11403969 w 285390"/>
              <a:gd name="T13" fmla="*/ 21689315 h 285391"/>
              <a:gd name="T14" fmla="*/ 16609519 w 285390"/>
              <a:gd name="T15" fmla="*/ 21646668 h 285391"/>
              <a:gd name="T16" fmla="*/ 14006641 w 285390"/>
              <a:gd name="T17" fmla="*/ 20622716 h 285391"/>
              <a:gd name="T18" fmla="*/ 14006641 w 285390"/>
              <a:gd name="T19" fmla="*/ 13199521 h 285391"/>
              <a:gd name="T20" fmla="*/ 14006641 w 285390"/>
              <a:gd name="T21" fmla="*/ 19598789 h 285391"/>
              <a:gd name="T22" fmla="*/ 14006641 w 285390"/>
              <a:gd name="T23" fmla="*/ 13199521 h 285391"/>
              <a:gd name="T24" fmla="*/ 17846951 w 285390"/>
              <a:gd name="T25" fmla="*/ 16143202 h 285391"/>
              <a:gd name="T26" fmla="*/ 16353460 w 285390"/>
              <a:gd name="T27" fmla="*/ 19726825 h 285391"/>
              <a:gd name="T28" fmla="*/ 18572333 w 285390"/>
              <a:gd name="T29" fmla="*/ 21305308 h 285391"/>
              <a:gd name="T30" fmla="*/ 21473690 w 285390"/>
              <a:gd name="T31" fmla="*/ 22756016 h 285391"/>
              <a:gd name="T32" fmla="*/ 21046952 w 285390"/>
              <a:gd name="T33" fmla="*/ 23609113 h 285391"/>
              <a:gd name="T34" fmla="*/ 19980313 w 285390"/>
              <a:gd name="T35" fmla="*/ 22883896 h 285391"/>
              <a:gd name="T36" fmla="*/ 17590807 w 285390"/>
              <a:gd name="T37" fmla="*/ 22073406 h 285391"/>
              <a:gd name="T38" fmla="*/ 10465185 w 285390"/>
              <a:gd name="T39" fmla="*/ 22073406 h 285391"/>
              <a:gd name="T40" fmla="*/ 8033098 w 285390"/>
              <a:gd name="T41" fmla="*/ 22883896 h 285391"/>
              <a:gd name="T42" fmla="*/ 6966530 w 285390"/>
              <a:gd name="T43" fmla="*/ 23566487 h 285391"/>
              <a:gd name="T44" fmla="*/ 6582425 w 285390"/>
              <a:gd name="T45" fmla="*/ 22756016 h 285391"/>
              <a:gd name="T46" fmla="*/ 9398578 w 285390"/>
              <a:gd name="T47" fmla="*/ 21305308 h 285391"/>
              <a:gd name="T48" fmla="*/ 11617320 w 285390"/>
              <a:gd name="T49" fmla="*/ 19769553 h 285391"/>
              <a:gd name="T50" fmla="*/ 10166458 w 285390"/>
              <a:gd name="T51" fmla="*/ 16143202 h 285391"/>
              <a:gd name="T52" fmla="*/ 13996709 w 285390"/>
              <a:gd name="T53" fmla="*/ 9403570 h 285391"/>
              <a:gd name="T54" fmla="*/ 13996709 w 285390"/>
              <a:gd name="T55" fmla="*/ 28083254 h 285391"/>
              <a:gd name="T56" fmla="*/ 13996709 w 285390"/>
              <a:gd name="T57" fmla="*/ 9403570 h 285391"/>
              <a:gd name="T58" fmla="*/ 24391503 w 285390"/>
              <a:gd name="T59" fmla="*/ 18764534 h 285391"/>
              <a:gd name="T60" fmla="*/ 28012693 w 285390"/>
              <a:gd name="T61" fmla="*/ 28083254 h 285391"/>
              <a:gd name="T62" fmla="*/ 28012693 w 285390"/>
              <a:gd name="T63" fmla="*/ 32700174 h 285391"/>
              <a:gd name="T64" fmla="*/ 23411805 w 285390"/>
              <a:gd name="T65" fmla="*/ 32700174 h 285391"/>
              <a:gd name="T66" fmla="*/ 13996709 w 285390"/>
              <a:gd name="T67" fmla="*/ 29142124 h 285391"/>
              <a:gd name="T68" fmla="*/ 13996709 w 285390"/>
              <a:gd name="T69" fmla="*/ 8429127 h 285391"/>
              <a:gd name="T70" fmla="*/ 30309020 w 285390"/>
              <a:gd name="T71" fmla="*/ 2497641 h 285391"/>
              <a:gd name="T72" fmla="*/ 30309020 w 285390"/>
              <a:gd name="T73" fmla="*/ 3205008 h 285391"/>
              <a:gd name="T74" fmla="*/ 29589687 w 285390"/>
              <a:gd name="T75" fmla="*/ 3205008 h 285391"/>
              <a:gd name="T76" fmla="*/ 29589687 w 285390"/>
              <a:gd name="T77" fmla="*/ 2497641 h 285391"/>
              <a:gd name="T78" fmla="*/ 24928457 w 285390"/>
              <a:gd name="T79" fmla="*/ 2497641 h 285391"/>
              <a:gd name="T80" fmla="*/ 24928457 w 285390"/>
              <a:gd name="T81" fmla="*/ 3205008 h 285391"/>
              <a:gd name="T82" fmla="*/ 24193702 w 285390"/>
              <a:gd name="T83" fmla="*/ 3205008 h 285391"/>
              <a:gd name="T84" fmla="*/ 24193702 w 285390"/>
              <a:gd name="T85" fmla="*/ 2497641 h 285391"/>
              <a:gd name="T86" fmla="*/ 27868046 w 285390"/>
              <a:gd name="T87" fmla="*/ 2974749 h 285391"/>
              <a:gd name="T88" fmla="*/ 26787237 w 285390"/>
              <a:gd name="T89" fmla="*/ 2974749 h 285391"/>
              <a:gd name="T90" fmla="*/ 976472 w 285390"/>
              <a:gd name="T91" fmla="*/ 1060086 h 285391"/>
              <a:gd name="T92" fmla="*/ 32656729 w 285390"/>
              <a:gd name="T93" fmla="*/ 4750123 h 285391"/>
              <a:gd name="T94" fmla="*/ 976472 w 285390"/>
              <a:gd name="T95" fmla="*/ 1060086 h 285391"/>
              <a:gd name="T96" fmla="*/ 33208763 w 285390"/>
              <a:gd name="T97" fmla="*/ 0 h 285391"/>
              <a:gd name="T98" fmla="*/ 33675848 w 285390"/>
              <a:gd name="T99" fmla="*/ 33165455 h 285391"/>
              <a:gd name="T100" fmla="*/ 29938808 w 285390"/>
              <a:gd name="T101" fmla="*/ 33674314 h 285391"/>
              <a:gd name="T102" fmla="*/ 29938808 w 285390"/>
              <a:gd name="T103" fmla="*/ 32656368 h 285391"/>
              <a:gd name="T104" fmla="*/ 32656729 w 285390"/>
              <a:gd name="T105" fmla="*/ 5810119 h 285391"/>
              <a:gd name="T106" fmla="*/ 976472 w 285390"/>
              <a:gd name="T107" fmla="*/ 32656368 h 285391"/>
              <a:gd name="T108" fmla="*/ 21573058 w 285390"/>
              <a:gd name="T109" fmla="*/ 33165455 h 285391"/>
              <a:gd name="T110" fmla="*/ 509278 w 285390"/>
              <a:gd name="T111" fmla="*/ 33674314 h 285391"/>
              <a:gd name="T112" fmla="*/ 0 w 285390"/>
              <a:gd name="T113" fmla="*/ 508558 h 285391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85390" h="285391">
                <a:moveTo>
                  <a:pt x="224400" y="236929"/>
                </a:moveTo>
                <a:lnTo>
                  <a:pt x="197322" y="263852"/>
                </a:lnTo>
                <a:lnTo>
                  <a:pt x="204543" y="270673"/>
                </a:lnTo>
                <a:cubicBezTo>
                  <a:pt x="211764" y="278212"/>
                  <a:pt x="224039" y="278212"/>
                  <a:pt x="231260" y="270673"/>
                </a:cubicBezTo>
                <a:cubicBezTo>
                  <a:pt x="234870" y="267442"/>
                  <a:pt x="237036" y="262775"/>
                  <a:pt x="237036" y="257391"/>
                </a:cubicBezTo>
                <a:cubicBezTo>
                  <a:pt x="237036" y="252365"/>
                  <a:pt x="234870" y="248057"/>
                  <a:pt x="231260" y="244467"/>
                </a:cubicBezTo>
                <a:lnTo>
                  <a:pt x="224400" y="236929"/>
                </a:lnTo>
                <a:close/>
                <a:moveTo>
                  <a:pt x="192990" y="206056"/>
                </a:moveTo>
                <a:cubicBezTo>
                  <a:pt x="186130" y="216826"/>
                  <a:pt x="177104" y="226159"/>
                  <a:pt x="165912" y="232621"/>
                </a:cubicBezTo>
                <a:lnTo>
                  <a:pt x="191185" y="258109"/>
                </a:lnTo>
                <a:lnTo>
                  <a:pt x="218262" y="230826"/>
                </a:lnTo>
                <a:lnTo>
                  <a:pt x="192990" y="206056"/>
                </a:lnTo>
                <a:close/>
                <a:moveTo>
                  <a:pt x="106407" y="171886"/>
                </a:moveTo>
                <a:cubicBezTo>
                  <a:pt x="104599" y="176948"/>
                  <a:pt x="100983" y="180925"/>
                  <a:pt x="96644" y="183817"/>
                </a:cubicBezTo>
                <a:cubicBezTo>
                  <a:pt x="98452" y="189964"/>
                  <a:pt x="107130" y="195749"/>
                  <a:pt x="118701" y="195749"/>
                </a:cubicBezTo>
                <a:cubicBezTo>
                  <a:pt x="130634" y="195749"/>
                  <a:pt x="138951" y="189602"/>
                  <a:pt x="140759" y="183456"/>
                </a:cubicBezTo>
                <a:cubicBezTo>
                  <a:pt x="136419" y="180563"/>
                  <a:pt x="132803" y="176586"/>
                  <a:pt x="130995" y="171886"/>
                </a:cubicBezTo>
                <a:cubicBezTo>
                  <a:pt x="127379" y="173694"/>
                  <a:pt x="123040" y="174778"/>
                  <a:pt x="118701" y="174778"/>
                </a:cubicBezTo>
                <a:cubicBezTo>
                  <a:pt x="114724" y="174778"/>
                  <a:pt x="110023" y="173694"/>
                  <a:pt x="106407" y="171886"/>
                </a:cubicBezTo>
                <a:close/>
                <a:moveTo>
                  <a:pt x="118701" y="111866"/>
                </a:moveTo>
                <a:cubicBezTo>
                  <a:pt x="104237" y="111866"/>
                  <a:pt x="94836" y="121628"/>
                  <a:pt x="94836" y="136814"/>
                </a:cubicBezTo>
                <a:cubicBezTo>
                  <a:pt x="94836" y="153084"/>
                  <a:pt x="105684" y="166101"/>
                  <a:pt x="118701" y="166101"/>
                </a:cubicBezTo>
                <a:cubicBezTo>
                  <a:pt x="131719" y="166101"/>
                  <a:pt x="142567" y="153084"/>
                  <a:pt x="142567" y="136814"/>
                </a:cubicBezTo>
                <a:cubicBezTo>
                  <a:pt x="142567" y="121628"/>
                  <a:pt x="132803" y="111866"/>
                  <a:pt x="118701" y="111866"/>
                </a:cubicBezTo>
                <a:close/>
                <a:moveTo>
                  <a:pt x="118701" y="103188"/>
                </a:moveTo>
                <a:cubicBezTo>
                  <a:pt x="137866" y="103188"/>
                  <a:pt x="151245" y="117289"/>
                  <a:pt x="151245" y="136814"/>
                </a:cubicBezTo>
                <a:cubicBezTo>
                  <a:pt x="151245" y="149107"/>
                  <a:pt x="146183" y="159593"/>
                  <a:pt x="138589" y="166824"/>
                </a:cubicBezTo>
                <a:cubicBezTo>
                  <a:pt x="138589" y="167185"/>
                  <a:pt x="138589" y="167185"/>
                  <a:pt x="138589" y="167185"/>
                </a:cubicBezTo>
                <a:cubicBezTo>
                  <a:pt x="140035" y="172247"/>
                  <a:pt x="144375" y="176948"/>
                  <a:pt x="150522" y="178394"/>
                </a:cubicBezTo>
                <a:cubicBezTo>
                  <a:pt x="153053" y="179117"/>
                  <a:pt x="155222" y="179840"/>
                  <a:pt x="157392" y="180563"/>
                </a:cubicBezTo>
                <a:cubicBezTo>
                  <a:pt x="163178" y="182371"/>
                  <a:pt x="168602" y="184179"/>
                  <a:pt x="173664" y="186348"/>
                </a:cubicBezTo>
                <a:cubicBezTo>
                  <a:pt x="176918" y="187795"/>
                  <a:pt x="179449" y="190326"/>
                  <a:pt x="181981" y="192857"/>
                </a:cubicBezTo>
                <a:cubicBezTo>
                  <a:pt x="183789" y="195026"/>
                  <a:pt x="183427" y="197918"/>
                  <a:pt x="181619" y="199365"/>
                </a:cubicBezTo>
                <a:cubicBezTo>
                  <a:pt x="180896" y="199726"/>
                  <a:pt x="179449" y="200088"/>
                  <a:pt x="178365" y="200088"/>
                </a:cubicBezTo>
                <a:cubicBezTo>
                  <a:pt x="177641" y="200088"/>
                  <a:pt x="176195" y="199726"/>
                  <a:pt x="175472" y="199003"/>
                </a:cubicBezTo>
                <a:cubicBezTo>
                  <a:pt x="174026" y="196834"/>
                  <a:pt x="171856" y="195388"/>
                  <a:pt x="169325" y="193941"/>
                </a:cubicBezTo>
                <a:cubicBezTo>
                  <a:pt x="165347" y="192133"/>
                  <a:pt x="160285" y="190326"/>
                  <a:pt x="155222" y="188879"/>
                </a:cubicBezTo>
                <a:cubicBezTo>
                  <a:pt x="153053" y="187795"/>
                  <a:pt x="150883" y="187433"/>
                  <a:pt x="149075" y="187072"/>
                </a:cubicBezTo>
                <a:cubicBezTo>
                  <a:pt x="145098" y="196834"/>
                  <a:pt x="132803" y="204427"/>
                  <a:pt x="118701" y="204427"/>
                </a:cubicBezTo>
                <a:cubicBezTo>
                  <a:pt x="103876" y="204427"/>
                  <a:pt x="91943" y="196834"/>
                  <a:pt x="88689" y="187072"/>
                </a:cubicBezTo>
                <a:cubicBezTo>
                  <a:pt x="86881" y="187433"/>
                  <a:pt x="84349" y="187795"/>
                  <a:pt x="82541" y="188879"/>
                </a:cubicBezTo>
                <a:cubicBezTo>
                  <a:pt x="77479" y="190326"/>
                  <a:pt x="72417" y="192133"/>
                  <a:pt x="68078" y="193941"/>
                </a:cubicBezTo>
                <a:cubicBezTo>
                  <a:pt x="65908" y="195388"/>
                  <a:pt x="63738" y="196834"/>
                  <a:pt x="62292" y="198642"/>
                </a:cubicBezTo>
                <a:cubicBezTo>
                  <a:pt x="61207" y="199365"/>
                  <a:pt x="60122" y="199726"/>
                  <a:pt x="59038" y="199726"/>
                </a:cubicBezTo>
                <a:cubicBezTo>
                  <a:pt x="57953" y="199726"/>
                  <a:pt x="56868" y="199365"/>
                  <a:pt x="56145" y="199003"/>
                </a:cubicBezTo>
                <a:cubicBezTo>
                  <a:pt x="54337" y="197195"/>
                  <a:pt x="53975" y="194664"/>
                  <a:pt x="55783" y="192857"/>
                </a:cubicBezTo>
                <a:cubicBezTo>
                  <a:pt x="57953" y="189964"/>
                  <a:pt x="60846" y="187795"/>
                  <a:pt x="64100" y="186710"/>
                </a:cubicBezTo>
                <a:cubicBezTo>
                  <a:pt x="69162" y="184179"/>
                  <a:pt x="74225" y="182371"/>
                  <a:pt x="79649" y="180563"/>
                </a:cubicBezTo>
                <a:cubicBezTo>
                  <a:pt x="82180" y="179840"/>
                  <a:pt x="84711" y="179117"/>
                  <a:pt x="87242" y="178394"/>
                </a:cubicBezTo>
                <a:cubicBezTo>
                  <a:pt x="93389" y="177309"/>
                  <a:pt x="97729" y="172970"/>
                  <a:pt x="98452" y="167547"/>
                </a:cubicBezTo>
                <a:cubicBezTo>
                  <a:pt x="98452" y="167185"/>
                  <a:pt x="99175" y="167185"/>
                  <a:pt x="99175" y="166824"/>
                </a:cubicBezTo>
                <a:cubicBezTo>
                  <a:pt x="91220" y="159593"/>
                  <a:pt x="86157" y="149107"/>
                  <a:pt x="86157" y="136814"/>
                </a:cubicBezTo>
                <a:cubicBezTo>
                  <a:pt x="86157" y="117289"/>
                  <a:pt x="99536" y="103188"/>
                  <a:pt x="118701" y="103188"/>
                </a:cubicBezTo>
                <a:close/>
                <a:moveTo>
                  <a:pt x="118616" y="79695"/>
                </a:moveTo>
                <a:cubicBezTo>
                  <a:pt x="74931" y="79695"/>
                  <a:pt x="38827" y="115593"/>
                  <a:pt x="38827" y="159030"/>
                </a:cubicBezTo>
                <a:cubicBezTo>
                  <a:pt x="38827" y="202467"/>
                  <a:pt x="74931" y="238006"/>
                  <a:pt x="118616" y="238006"/>
                </a:cubicBezTo>
                <a:cubicBezTo>
                  <a:pt x="162663" y="238006"/>
                  <a:pt x="198405" y="202467"/>
                  <a:pt x="198405" y="159030"/>
                </a:cubicBezTo>
                <a:cubicBezTo>
                  <a:pt x="198405" y="115593"/>
                  <a:pt x="162663" y="79695"/>
                  <a:pt x="118616" y="79695"/>
                </a:cubicBezTo>
                <a:close/>
                <a:moveTo>
                  <a:pt x="118616" y="71438"/>
                </a:moveTo>
                <a:cubicBezTo>
                  <a:pt x="167717" y="71438"/>
                  <a:pt x="206709" y="110567"/>
                  <a:pt x="206709" y="159030"/>
                </a:cubicBezTo>
                <a:cubicBezTo>
                  <a:pt x="206709" y="173389"/>
                  <a:pt x="203099" y="186671"/>
                  <a:pt x="197322" y="198159"/>
                </a:cubicBezTo>
                <a:lnTo>
                  <a:pt x="237397" y="238006"/>
                </a:lnTo>
                <a:cubicBezTo>
                  <a:pt x="242813" y="243031"/>
                  <a:pt x="245701" y="250211"/>
                  <a:pt x="245701" y="257391"/>
                </a:cubicBezTo>
                <a:cubicBezTo>
                  <a:pt x="245701" y="264929"/>
                  <a:pt x="242813" y="272109"/>
                  <a:pt x="237397" y="277135"/>
                </a:cubicBezTo>
                <a:cubicBezTo>
                  <a:pt x="231982" y="282160"/>
                  <a:pt x="225122" y="285391"/>
                  <a:pt x="217901" y="285391"/>
                </a:cubicBezTo>
                <a:cubicBezTo>
                  <a:pt x="210320" y="285391"/>
                  <a:pt x="203460" y="282160"/>
                  <a:pt x="198405" y="277135"/>
                </a:cubicBezTo>
                <a:lnTo>
                  <a:pt x="158330" y="236929"/>
                </a:lnTo>
                <a:cubicBezTo>
                  <a:pt x="146416" y="243031"/>
                  <a:pt x="132697" y="246980"/>
                  <a:pt x="118616" y="246980"/>
                </a:cubicBezTo>
                <a:cubicBezTo>
                  <a:pt x="69876" y="246980"/>
                  <a:pt x="30162" y="207492"/>
                  <a:pt x="30162" y="159030"/>
                </a:cubicBezTo>
                <a:cubicBezTo>
                  <a:pt x="30162" y="110567"/>
                  <a:pt x="69876" y="71438"/>
                  <a:pt x="118616" y="71438"/>
                </a:cubicBezTo>
                <a:close/>
                <a:moveTo>
                  <a:pt x="250761" y="21166"/>
                </a:moveTo>
                <a:cubicBezTo>
                  <a:pt x="252285" y="19050"/>
                  <a:pt x="255333" y="19050"/>
                  <a:pt x="256857" y="21166"/>
                </a:cubicBezTo>
                <a:cubicBezTo>
                  <a:pt x="258000" y="21872"/>
                  <a:pt x="258381" y="22578"/>
                  <a:pt x="258381" y="23989"/>
                </a:cubicBezTo>
                <a:cubicBezTo>
                  <a:pt x="258381" y="25047"/>
                  <a:pt x="258000" y="25753"/>
                  <a:pt x="256857" y="27164"/>
                </a:cubicBezTo>
                <a:cubicBezTo>
                  <a:pt x="256095" y="27869"/>
                  <a:pt x="255333" y="28222"/>
                  <a:pt x="254190" y="28222"/>
                </a:cubicBezTo>
                <a:cubicBezTo>
                  <a:pt x="252285" y="28222"/>
                  <a:pt x="251523" y="27869"/>
                  <a:pt x="250761" y="27164"/>
                </a:cubicBezTo>
                <a:cubicBezTo>
                  <a:pt x="249618" y="25753"/>
                  <a:pt x="249237" y="25047"/>
                  <a:pt x="249237" y="23989"/>
                </a:cubicBezTo>
                <a:cubicBezTo>
                  <a:pt x="249237" y="22578"/>
                  <a:pt x="249618" y="21872"/>
                  <a:pt x="250761" y="21166"/>
                </a:cubicBezTo>
                <a:close/>
                <a:moveTo>
                  <a:pt x="205032" y="21166"/>
                </a:moveTo>
                <a:cubicBezTo>
                  <a:pt x="206497" y="19050"/>
                  <a:pt x="209428" y="19050"/>
                  <a:pt x="211260" y="21166"/>
                </a:cubicBezTo>
                <a:cubicBezTo>
                  <a:pt x="211626" y="21872"/>
                  <a:pt x="212359" y="22578"/>
                  <a:pt x="212359" y="23989"/>
                </a:cubicBezTo>
                <a:cubicBezTo>
                  <a:pt x="212359" y="25047"/>
                  <a:pt x="211626" y="25753"/>
                  <a:pt x="211260" y="27164"/>
                </a:cubicBezTo>
                <a:cubicBezTo>
                  <a:pt x="210161" y="27869"/>
                  <a:pt x="209062" y="28222"/>
                  <a:pt x="207963" y="28222"/>
                </a:cubicBezTo>
                <a:cubicBezTo>
                  <a:pt x="206497" y="28222"/>
                  <a:pt x="205765" y="27869"/>
                  <a:pt x="205032" y="27164"/>
                </a:cubicBezTo>
                <a:cubicBezTo>
                  <a:pt x="203933" y="25753"/>
                  <a:pt x="203200" y="25047"/>
                  <a:pt x="203200" y="23989"/>
                </a:cubicBezTo>
                <a:cubicBezTo>
                  <a:pt x="203200" y="22578"/>
                  <a:pt x="203933" y="21872"/>
                  <a:pt x="205032" y="21166"/>
                </a:cubicBezTo>
                <a:close/>
                <a:moveTo>
                  <a:pt x="231408" y="20638"/>
                </a:moveTo>
                <a:cubicBezTo>
                  <a:pt x="233973" y="20638"/>
                  <a:pt x="236171" y="22543"/>
                  <a:pt x="236171" y="25210"/>
                </a:cubicBezTo>
                <a:cubicBezTo>
                  <a:pt x="236171" y="27496"/>
                  <a:pt x="233973" y="29782"/>
                  <a:pt x="231408" y="29782"/>
                </a:cubicBezTo>
                <a:cubicBezTo>
                  <a:pt x="228844" y="29782"/>
                  <a:pt x="227012" y="27496"/>
                  <a:pt x="227012" y="25210"/>
                </a:cubicBezTo>
                <a:cubicBezTo>
                  <a:pt x="227012" y="22543"/>
                  <a:pt x="228844" y="20638"/>
                  <a:pt x="231408" y="20638"/>
                </a:cubicBezTo>
                <a:close/>
                <a:moveTo>
                  <a:pt x="8277" y="8986"/>
                </a:moveTo>
                <a:lnTo>
                  <a:pt x="8277" y="40256"/>
                </a:lnTo>
                <a:lnTo>
                  <a:pt x="276753" y="40256"/>
                </a:lnTo>
                <a:lnTo>
                  <a:pt x="276753" y="8986"/>
                </a:lnTo>
                <a:lnTo>
                  <a:pt x="8277" y="8986"/>
                </a:lnTo>
                <a:close/>
                <a:moveTo>
                  <a:pt x="4319" y="0"/>
                </a:moveTo>
                <a:lnTo>
                  <a:pt x="281432" y="0"/>
                </a:lnTo>
                <a:cubicBezTo>
                  <a:pt x="283591" y="0"/>
                  <a:pt x="285390" y="1797"/>
                  <a:pt x="285390" y="4313"/>
                </a:cubicBezTo>
                <a:lnTo>
                  <a:pt x="285390" y="281078"/>
                </a:lnTo>
                <a:cubicBezTo>
                  <a:pt x="285390" y="283234"/>
                  <a:pt x="283591" y="285391"/>
                  <a:pt x="281432" y="285391"/>
                </a:cubicBezTo>
                <a:lnTo>
                  <a:pt x="253720" y="285391"/>
                </a:lnTo>
                <a:cubicBezTo>
                  <a:pt x="251201" y="285391"/>
                  <a:pt x="249042" y="283234"/>
                  <a:pt x="249042" y="281078"/>
                </a:cubicBezTo>
                <a:cubicBezTo>
                  <a:pt x="249042" y="278562"/>
                  <a:pt x="251201" y="276764"/>
                  <a:pt x="253720" y="276764"/>
                </a:cubicBezTo>
                <a:lnTo>
                  <a:pt x="276753" y="276764"/>
                </a:lnTo>
                <a:lnTo>
                  <a:pt x="276753" y="49242"/>
                </a:lnTo>
                <a:lnTo>
                  <a:pt x="8277" y="49242"/>
                </a:lnTo>
                <a:lnTo>
                  <a:pt x="8277" y="276764"/>
                </a:lnTo>
                <a:lnTo>
                  <a:pt x="178144" y="276764"/>
                </a:lnTo>
                <a:cubicBezTo>
                  <a:pt x="180663" y="276764"/>
                  <a:pt x="182823" y="278562"/>
                  <a:pt x="182823" y="281078"/>
                </a:cubicBezTo>
                <a:cubicBezTo>
                  <a:pt x="182823" y="283234"/>
                  <a:pt x="180663" y="285391"/>
                  <a:pt x="178144" y="285391"/>
                </a:cubicBezTo>
                <a:lnTo>
                  <a:pt x="4319" y="285391"/>
                </a:lnTo>
                <a:cubicBezTo>
                  <a:pt x="1799" y="285391"/>
                  <a:pt x="0" y="283234"/>
                  <a:pt x="0" y="281078"/>
                </a:cubicBezTo>
                <a:lnTo>
                  <a:pt x="0" y="4313"/>
                </a:lnTo>
                <a:cubicBezTo>
                  <a:pt x="0" y="1797"/>
                  <a:pt x="1799" y="0"/>
                  <a:pt x="4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de-DE" sz="675">
              <a:latin typeface="Lato Light" panose="020F0502020204030203" pitchFamily="34" charset="0"/>
            </a:endParaRPr>
          </a:p>
        </p:txBody>
      </p:sp>
      <p:sp>
        <p:nvSpPr>
          <p:cNvPr id="131" name="Träne 130">
            <a:extLst>
              <a:ext uri="{FF2B5EF4-FFF2-40B4-BE49-F238E27FC236}">
                <a16:creationId xmlns:a16="http://schemas.microsoft.com/office/drawing/2014/main" id="{101FDDDC-908B-6CC0-661A-0ED0C7EABE55}"/>
              </a:ext>
            </a:extLst>
          </p:cNvPr>
          <p:cNvSpPr/>
          <p:nvPr/>
        </p:nvSpPr>
        <p:spPr>
          <a:xfrm>
            <a:off x="2143330" y="2667000"/>
            <a:ext cx="2349347" cy="2034496"/>
          </a:xfrm>
          <a:prstGeom prst="teardrop">
            <a:avLst/>
          </a:prstGeom>
          <a:solidFill>
            <a:srgbClr val="002C57"/>
          </a:solidFill>
          <a:ln w="50800" cap="rnd">
            <a:noFill/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ctr">
            <a:spAutoFit/>
          </a:bodyPr>
          <a:lstStyle/>
          <a:p>
            <a:pPr algn="l"/>
            <a:endParaRPr lang="de-DE" sz="1500" b="0" i="0"/>
          </a:p>
        </p:txBody>
      </p:sp>
      <p:sp>
        <p:nvSpPr>
          <p:cNvPr id="132" name="Textfeld 131">
            <a:extLst>
              <a:ext uri="{FF2B5EF4-FFF2-40B4-BE49-F238E27FC236}">
                <a16:creationId xmlns:a16="http://schemas.microsoft.com/office/drawing/2014/main" id="{A80FD770-1EEA-83F3-71D3-8B422BEB6292}"/>
              </a:ext>
            </a:extLst>
          </p:cNvPr>
          <p:cNvSpPr txBox="1"/>
          <p:nvPr/>
        </p:nvSpPr>
        <p:spPr>
          <a:xfrm>
            <a:off x="4868150" y="1076459"/>
            <a:ext cx="199090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100" b="1" i="0" baseline="0">
                <a:solidFill>
                  <a:schemeClr val="bg1"/>
                </a:solidFill>
                <a:latin typeface="+mj-lt"/>
              </a:rPr>
              <a:t>Lieferantenbewertung</a:t>
            </a:r>
          </a:p>
        </p:txBody>
      </p:sp>
      <p:pic>
        <p:nvPicPr>
          <p:cNvPr id="135" name="Grafik 134">
            <a:extLst>
              <a:ext uri="{FF2B5EF4-FFF2-40B4-BE49-F238E27FC236}">
                <a16:creationId xmlns:a16="http://schemas.microsoft.com/office/drawing/2014/main" id="{EA9D7C13-3442-93F6-17DB-BA40C566594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276219" y="3302248"/>
            <a:ext cx="284979" cy="331544"/>
          </a:xfrm>
          <a:prstGeom prst="rect">
            <a:avLst/>
          </a:prstGeom>
        </p:spPr>
      </p:pic>
      <p:sp>
        <p:nvSpPr>
          <p:cNvPr id="137" name="Textfeld 136">
            <a:extLst>
              <a:ext uri="{FF2B5EF4-FFF2-40B4-BE49-F238E27FC236}">
                <a16:creationId xmlns:a16="http://schemas.microsoft.com/office/drawing/2014/main" id="{ABDD1F21-3BD9-9002-0941-E695DF2C53DA}"/>
              </a:ext>
            </a:extLst>
          </p:cNvPr>
          <p:cNvSpPr txBox="1"/>
          <p:nvPr/>
        </p:nvSpPr>
        <p:spPr>
          <a:xfrm>
            <a:off x="2744708" y="2863939"/>
            <a:ext cx="163298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100" b="1" err="1">
                <a:solidFill>
                  <a:schemeClr val="bg1"/>
                </a:solidFill>
                <a:latin typeface="+mj-lt"/>
              </a:rPr>
              <a:t>Lieferantenauditierung</a:t>
            </a:r>
            <a:endParaRPr lang="de-DE" sz="11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866DA0AF-657A-55E6-8D80-DC03E5BBADB9}"/>
              </a:ext>
            </a:extLst>
          </p:cNvPr>
          <p:cNvSpPr/>
          <p:nvPr/>
        </p:nvSpPr>
        <p:spPr>
          <a:xfrm>
            <a:off x="2995146" y="3664880"/>
            <a:ext cx="851044" cy="39722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buClr>
                <a:srgbClr val="EFEFEF"/>
              </a:buClr>
            </a:pPr>
            <a:r>
              <a:rPr lang="de-DE" sz="1000">
                <a:solidFill>
                  <a:schemeClr val="bg1"/>
                </a:solidFill>
                <a:latin typeface="+mj-lt"/>
              </a:rPr>
              <a:t>In Prüfung</a:t>
            </a:r>
          </a:p>
        </p:txBody>
      </p:sp>
      <p:pic>
        <p:nvPicPr>
          <p:cNvPr id="139" name="Grafik 138" descr="Ein Bild, das draußen, Wasserfahrzeug, Transport, Himmel enthält.&#10;&#10;KI-generierte Inhalte können fehlerhaft sein.">
            <a:extLst>
              <a:ext uri="{FF2B5EF4-FFF2-40B4-BE49-F238E27FC236}">
                <a16:creationId xmlns:a16="http://schemas.microsoft.com/office/drawing/2014/main" id="{B1C762E1-154A-AAB4-1621-9386E919DE0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858" y="1059123"/>
            <a:ext cx="727667" cy="409313"/>
          </a:xfrm>
          <a:prstGeom prst="rect">
            <a:avLst/>
          </a:prstGeom>
        </p:spPr>
      </p:pic>
      <p:sp>
        <p:nvSpPr>
          <p:cNvPr id="141" name="Titel 140">
            <a:extLst>
              <a:ext uri="{FF2B5EF4-FFF2-40B4-BE49-F238E27FC236}">
                <a16:creationId xmlns:a16="http://schemas.microsoft.com/office/drawing/2014/main" id="{B2647967-76AD-C77D-73BA-2F8242160E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276999"/>
          </a:xfrm>
        </p:spPr>
        <p:txBody>
          <a:bodyPr vert="horz"/>
          <a:lstStyle/>
          <a:p>
            <a:r>
              <a:rPr lang="de-DE" sz="2000" b="1"/>
              <a:t>Prozessumfang</a:t>
            </a:r>
          </a:p>
        </p:txBody>
      </p:sp>
      <p:sp>
        <p:nvSpPr>
          <p:cNvPr id="2" name="Foliennummernplatzhalter 4">
            <a:extLst>
              <a:ext uri="{FF2B5EF4-FFF2-40B4-BE49-F238E27FC236}">
                <a16:creationId xmlns:a16="http://schemas.microsoft.com/office/drawing/2014/main" id="{DA8C7055-4EBD-A816-8CE4-53FB9F86F16A}"/>
              </a:ext>
            </a:extLst>
          </p:cNvPr>
          <p:cNvSpPr txBox="1">
            <a:spLocks/>
          </p:cNvSpPr>
          <p:nvPr/>
        </p:nvSpPr>
        <p:spPr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>
              <a:defRPr sz="800">
                <a:solidFill>
                  <a:schemeClr val="bg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63C361D-6D9E-4F98-8831-48736655B334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3" name="Foliennummernplatzhalter 1">
            <a:extLst>
              <a:ext uri="{FF2B5EF4-FFF2-40B4-BE49-F238E27FC236}">
                <a16:creationId xmlns:a16="http://schemas.microsoft.com/office/drawing/2014/main" id="{4E8B38A1-AF3D-4171-F769-7A380669D932}"/>
              </a:ext>
            </a:extLst>
          </p:cNvPr>
          <p:cNvSpPr txBox="1">
            <a:spLocks/>
          </p:cNvSpPr>
          <p:nvPr/>
        </p:nvSpPr>
        <p:spPr bwMode="gray">
          <a:xfrm>
            <a:off x="1103141" y="4933989"/>
            <a:ext cx="3063342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D9607335-8BDB-4D50-A1E6-11B757708170}" type="slidenum">
              <a:rPr lang="de-DE" smtClean="0"/>
              <a:pPr>
                <a:defRPr/>
              </a:pPr>
              <a:t>7</a:t>
            </a:fld>
            <a:r>
              <a:rPr lang="de-DE"/>
              <a:t> I Infoveranstaltung LIMA I 16.04.2025</a:t>
            </a:r>
          </a:p>
        </p:txBody>
      </p:sp>
    </p:spTree>
    <p:extLst>
      <p:ext uri="{BB962C8B-B14F-4D97-AF65-F5344CB8AC3E}">
        <p14:creationId xmlns:p14="http://schemas.microsoft.com/office/powerpoint/2010/main" val="27574311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20041AF-139C-781E-E843-CF55576E48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5684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0041AF-139C-781E-E843-CF55576E4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6DCE048D-9C0B-563A-BD0B-EE85F16E3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553998"/>
          </a:xfrm>
        </p:spPr>
        <p:txBody>
          <a:bodyPr vert="horz"/>
          <a:lstStyle/>
          <a:p>
            <a:r>
              <a:rPr lang="de-DE" sz="2000" b="1"/>
              <a:t>Vorteile für unsere Partner</a:t>
            </a:r>
            <a:br>
              <a:rPr lang="de-DE" sz="2000" b="1"/>
            </a:br>
            <a:endParaRPr lang="de-DE" sz="2000" b="1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9CCACE-8178-F41A-68AF-2A54BC11DB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2AF267-4978-41E9-B194-F94A8B63F09C}" type="slidenum">
              <a:rPr lang="de-DE" smtClean="0"/>
              <a:t>8</a:t>
            </a:fld>
            <a:endParaRPr lang="de-DE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FA1599A7-6BF3-C9EF-14E3-C905D9BDF56B}"/>
              </a:ext>
            </a:extLst>
          </p:cNvPr>
          <p:cNvSpPr txBox="1">
            <a:spLocks/>
          </p:cNvSpPr>
          <p:nvPr/>
        </p:nvSpPr>
        <p:spPr>
          <a:xfrm>
            <a:off x="1500868" y="1004227"/>
            <a:ext cx="8351006" cy="3544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defPPr>
              <a:defRPr lang="de-DE"/>
            </a:defPPr>
            <a:lvl1pPr indent="0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575"/>
            </a:lvl1pPr>
            <a:lvl2pPr marL="538163" indent="-179388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lvl2pPr>
            <a:lvl3pPr marL="896938" indent="-179388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lvl3pPr>
            <a:lvl4pPr marL="1255713" indent="-179388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lvl4pPr>
            <a:lvl5pPr marL="1612900" indent="-177800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/>
              <a:t>Kostenlose Nutzung von LIMA</a:t>
            </a:r>
          </a:p>
        </p:txBody>
      </p:sp>
      <p:sp>
        <p:nvSpPr>
          <p:cNvPr id="11" name="Datumsplatzhalter 4">
            <a:extLst>
              <a:ext uri="{FF2B5EF4-FFF2-40B4-BE49-F238E27FC236}">
                <a16:creationId xmlns:a16="http://schemas.microsoft.com/office/drawing/2014/main" id="{8D2A02C7-6D38-454D-084C-DBD6E1D99946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0921640-1B15-4FBD-8232-2FC6C02B91B6}" type="datetime6">
              <a:rPr lang="de-DE" smtClean="0"/>
              <a:pPr/>
              <a:t>April 25</a:t>
            </a:fld>
            <a:endParaRPr lang="de-DE"/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67E643E3-D829-F1FA-C8BA-8EC90921A886}"/>
              </a:ext>
            </a:extLst>
          </p:cNvPr>
          <p:cNvSpPr/>
          <p:nvPr/>
        </p:nvSpPr>
        <p:spPr>
          <a:xfrm>
            <a:off x="-783362" y="696915"/>
            <a:ext cx="2215055" cy="4038079"/>
          </a:xfrm>
          <a:custGeom>
            <a:avLst/>
            <a:gdLst>
              <a:gd name="connsiteX0" fmla="*/ 2052000 w 4104000"/>
              <a:gd name="connsiteY0" fmla="*/ 144000 h 4104000"/>
              <a:gd name="connsiteX1" fmla="*/ 144000 w 4104000"/>
              <a:gd name="connsiteY1" fmla="*/ 2052000 h 4104000"/>
              <a:gd name="connsiteX2" fmla="*/ 2052000 w 4104000"/>
              <a:gd name="connsiteY2" fmla="*/ 3960000 h 4104000"/>
              <a:gd name="connsiteX3" fmla="*/ 3960000 w 4104000"/>
              <a:gd name="connsiteY3" fmla="*/ 2052000 h 4104000"/>
              <a:gd name="connsiteX4" fmla="*/ 2052000 w 4104000"/>
              <a:gd name="connsiteY4" fmla="*/ 144000 h 4104000"/>
              <a:gd name="connsiteX5" fmla="*/ 2052000 w 4104000"/>
              <a:gd name="connsiteY5" fmla="*/ 0 h 4104000"/>
              <a:gd name="connsiteX6" fmla="*/ 4104000 w 4104000"/>
              <a:gd name="connsiteY6" fmla="*/ 2052000 h 4104000"/>
              <a:gd name="connsiteX7" fmla="*/ 2052000 w 4104000"/>
              <a:gd name="connsiteY7" fmla="*/ 4104000 h 4104000"/>
              <a:gd name="connsiteX8" fmla="*/ 0 w 4104000"/>
              <a:gd name="connsiteY8" fmla="*/ 2052000 h 4104000"/>
              <a:gd name="connsiteX9" fmla="*/ 2052000 w 4104000"/>
              <a:gd name="connsiteY9" fmla="*/ 0 h 41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104000" h="4104000">
                <a:moveTo>
                  <a:pt x="2052000" y="144000"/>
                </a:moveTo>
                <a:cubicBezTo>
                  <a:pt x="998241" y="144000"/>
                  <a:pt x="144000" y="998241"/>
                  <a:pt x="144000" y="2052000"/>
                </a:cubicBezTo>
                <a:cubicBezTo>
                  <a:pt x="144000" y="3105759"/>
                  <a:pt x="998241" y="3960000"/>
                  <a:pt x="2052000" y="3960000"/>
                </a:cubicBezTo>
                <a:cubicBezTo>
                  <a:pt x="3105759" y="3960000"/>
                  <a:pt x="3960000" y="3105759"/>
                  <a:pt x="3960000" y="2052000"/>
                </a:cubicBezTo>
                <a:cubicBezTo>
                  <a:pt x="3960000" y="998241"/>
                  <a:pt x="3105759" y="144000"/>
                  <a:pt x="2052000" y="144000"/>
                </a:cubicBezTo>
                <a:close/>
                <a:moveTo>
                  <a:pt x="2052000" y="0"/>
                </a:moveTo>
                <a:cubicBezTo>
                  <a:pt x="3185288" y="0"/>
                  <a:pt x="4104000" y="918712"/>
                  <a:pt x="4104000" y="2052000"/>
                </a:cubicBezTo>
                <a:cubicBezTo>
                  <a:pt x="4104000" y="3185288"/>
                  <a:pt x="3185288" y="4104000"/>
                  <a:pt x="2052000" y="4104000"/>
                </a:cubicBezTo>
                <a:cubicBezTo>
                  <a:pt x="918712" y="4104000"/>
                  <a:pt x="0" y="3185288"/>
                  <a:pt x="0" y="2052000"/>
                </a:cubicBezTo>
                <a:cubicBezTo>
                  <a:pt x="0" y="918712"/>
                  <a:pt x="918712" y="0"/>
                  <a:pt x="2052000" y="0"/>
                </a:cubicBezTo>
                <a:close/>
              </a:path>
            </a:pathLst>
          </a:custGeom>
          <a:solidFill>
            <a:srgbClr val="8A8988">
              <a:alpha val="12000"/>
            </a:srgbClr>
          </a:solidFill>
          <a:ln w="50800" cap="rnd">
            <a:noFill/>
            <a:round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216000" rIns="216000" bIns="216000" rtlCol="0" anchor="ctr">
            <a:noAutofit/>
          </a:bodyPr>
          <a:lstStyle/>
          <a:p>
            <a:pPr algn="l"/>
            <a:endParaRPr lang="de-DE" sz="1125"/>
          </a:p>
        </p:txBody>
      </p:sp>
      <p:sp>
        <p:nvSpPr>
          <p:cNvPr id="14" name="Oval 25">
            <a:extLst>
              <a:ext uri="{FF2B5EF4-FFF2-40B4-BE49-F238E27FC236}">
                <a16:creationId xmlns:a16="http://schemas.microsoft.com/office/drawing/2014/main" id="{931240C1-DA4A-4361-F5D4-82C9780B4C7B}"/>
              </a:ext>
            </a:extLst>
          </p:cNvPr>
          <p:cNvSpPr/>
          <p:nvPr/>
        </p:nvSpPr>
        <p:spPr>
          <a:xfrm>
            <a:off x="1128670" y="2004329"/>
            <a:ext cx="462669" cy="468776"/>
          </a:xfrm>
          <a:prstGeom prst="ellipse">
            <a:avLst/>
          </a:prstGeom>
          <a:solidFill>
            <a:srgbClr val="002C5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Oval 23">
            <a:extLst>
              <a:ext uri="{FF2B5EF4-FFF2-40B4-BE49-F238E27FC236}">
                <a16:creationId xmlns:a16="http://schemas.microsoft.com/office/drawing/2014/main" id="{1BDEE6FB-E78D-9B06-7736-CB15CDAB2894}"/>
              </a:ext>
            </a:extLst>
          </p:cNvPr>
          <p:cNvSpPr/>
          <p:nvPr/>
        </p:nvSpPr>
        <p:spPr>
          <a:xfrm>
            <a:off x="1164249" y="2562954"/>
            <a:ext cx="462669" cy="468776"/>
          </a:xfrm>
          <a:prstGeom prst="ellipse">
            <a:avLst/>
          </a:prstGeom>
          <a:solidFill>
            <a:srgbClr val="002C5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Oval 19">
            <a:extLst>
              <a:ext uri="{FF2B5EF4-FFF2-40B4-BE49-F238E27FC236}">
                <a16:creationId xmlns:a16="http://schemas.microsoft.com/office/drawing/2014/main" id="{D4200D75-1306-30E3-D7DF-07F915115793}"/>
              </a:ext>
            </a:extLst>
          </p:cNvPr>
          <p:cNvSpPr/>
          <p:nvPr/>
        </p:nvSpPr>
        <p:spPr>
          <a:xfrm>
            <a:off x="985921" y="3626350"/>
            <a:ext cx="462668" cy="468776"/>
          </a:xfrm>
          <a:prstGeom prst="ellipse">
            <a:avLst/>
          </a:prstGeom>
          <a:solidFill>
            <a:srgbClr val="002C5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Oval 21">
            <a:extLst>
              <a:ext uri="{FF2B5EF4-FFF2-40B4-BE49-F238E27FC236}">
                <a16:creationId xmlns:a16="http://schemas.microsoft.com/office/drawing/2014/main" id="{49A2E64F-D365-B1E3-3663-8D43BB498390}"/>
              </a:ext>
            </a:extLst>
          </p:cNvPr>
          <p:cNvSpPr/>
          <p:nvPr/>
        </p:nvSpPr>
        <p:spPr>
          <a:xfrm>
            <a:off x="1101835" y="3106552"/>
            <a:ext cx="462668" cy="46877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Oval 25">
            <a:extLst>
              <a:ext uri="{FF2B5EF4-FFF2-40B4-BE49-F238E27FC236}">
                <a16:creationId xmlns:a16="http://schemas.microsoft.com/office/drawing/2014/main" id="{2104DC9D-A0DE-869A-B1AE-7EE74D20EB82}"/>
              </a:ext>
            </a:extLst>
          </p:cNvPr>
          <p:cNvSpPr/>
          <p:nvPr/>
        </p:nvSpPr>
        <p:spPr>
          <a:xfrm>
            <a:off x="716595" y="4120093"/>
            <a:ext cx="462669" cy="468776"/>
          </a:xfrm>
          <a:prstGeom prst="ellipse">
            <a:avLst/>
          </a:prstGeom>
          <a:solidFill>
            <a:srgbClr val="002C5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9" name="Group 1223">
            <a:extLst>
              <a:ext uri="{FF2B5EF4-FFF2-40B4-BE49-F238E27FC236}">
                <a16:creationId xmlns:a16="http://schemas.microsoft.com/office/drawing/2014/main" id="{5A32AE53-3E6E-67F4-DA16-7966703EA654}"/>
              </a:ext>
            </a:extLst>
          </p:cNvPr>
          <p:cNvGrpSpPr>
            <a:grpSpLocks noChangeAspect="1"/>
          </p:cNvGrpSpPr>
          <p:nvPr/>
        </p:nvGrpSpPr>
        <p:grpSpPr>
          <a:xfrm>
            <a:off x="-803144" y="2988325"/>
            <a:ext cx="369177" cy="353835"/>
            <a:chOff x="488949" y="3351429"/>
            <a:chExt cx="647224" cy="620327"/>
          </a:xfrm>
          <a:solidFill>
            <a:schemeClr val="bg1">
              <a:alpha val="0"/>
            </a:schemeClr>
          </a:solidFill>
        </p:grpSpPr>
        <p:sp>
          <p:nvSpPr>
            <p:cNvPr id="20" name="Freeform 142">
              <a:extLst>
                <a:ext uri="{FF2B5EF4-FFF2-40B4-BE49-F238E27FC236}">
                  <a16:creationId xmlns:a16="http://schemas.microsoft.com/office/drawing/2014/main" id="{9E51BC79-0B41-5F10-AD05-EA68984DB0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8949" y="3462382"/>
              <a:ext cx="509374" cy="509374"/>
            </a:xfrm>
            <a:custGeom>
              <a:avLst/>
              <a:gdLst>
                <a:gd name="T0" fmla="*/ 287 w 303"/>
                <a:gd name="T1" fmla="*/ 98 h 303"/>
                <a:gd name="T2" fmla="*/ 290 w 303"/>
                <a:gd name="T3" fmla="*/ 87 h 303"/>
                <a:gd name="T4" fmla="*/ 267 w 303"/>
                <a:gd name="T5" fmla="*/ 57 h 303"/>
                <a:gd name="T6" fmla="*/ 243 w 303"/>
                <a:gd name="T7" fmla="*/ 38 h 303"/>
                <a:gd name="T8" fmla="*/ 240 w 303"/>
                <a:gd name="T9" fmla="*/ 27 h 303"/>
                <a:gd name="T10" fmla="*/ 203 w 303"/>
                <a:gd name="T11" fmla="*/ 11 h 303"/>
                <a:gd name="T12" fmla="*/ 173 w 303"/>
                <a:gd name="T13" fmla="*/ 8 h 303"/>
                <a:gd name="T14" fmla="*/ 166 w 303"/>
                <a:gd name="T15" fmla="*/ 0 h 303"/>
                <a:gd name="T16" fmla="*/ 128 w 303"/>
                <a:gd name="T17" fmla="*/ 5 h 303"/>
                <a:gd name="T18" fmla="*/ 99 w 303"/>
                <a:gd name="T19" fmla="*/ 16 h 303"/>
                <a:gd name="T20" fmla="*/ 88 w 303"/>
                <a:gd name="T21" fmla="*/ 13 h 303"/>
                <a:gd name="T22" fmla="*/ 58 w 303"/>
                <a:gd name="T23" fmla="*/ 36 h 303"/>
                <a:gd name="T24" fmla="*/ 38 w 303"/>
                <a:gd name="T25" fmla="*/ 60 h 303"/>
                <a:gd name="T26" fmla="*/ 28 w 303"/>
                <a:gd name="T27" fmla="*/ 63 h 303"/>
                <a:gd name="T28" fmla="*/ 13 w 303"/>
                <a:gd name="T29" fmla="*/ 100 h 303"/>
                <a:gd name="T30" fmla="*/ 8 w 303"/>
                <a:gd name="T31" fmla="*/ 130 h 303"/>
                <a:gd name="T32" fmla="*/ 0 w 303"/>
                <a:gd name="T33" fmla="*/ 137 h 303"/>
                <a:gd name="T34" fmla="*/ 5 w 303"/>
                <a:gd name="T35" fmla="*/ 175 h 303"/>
                <a:gd name="T36" fmla="*/ 17 w 303"/>
                <a:gd name="T37" fmla="*/ 204 h 303"/>
                <a:gd name="T38" fmla="*/ 14 w 303"/>
                <a:gd name="T39" fmla="*/ 215 h 303"/>
                <a:gd name="T40" fmla="*/ 38 w 303"/>
                <a:gd name="T41" fmla="*/ 245 h 303"/>
                <a:gd name="T42" fmla="*/ 62 w 303"/>
                <a:gd name="T43" fmla="*/ 265 h 303"/>
                <a:gd name="T44" fmla="*/ 65 w 303"/>
                <a:gd name="T45" fmla="*/ 275 h 303"/>
                <a:gd name="T46" fmla="*/ 99 w 303"/>
                <a:gd name="T47" fmla="*/ 290 h 303"/>
                <a:gd name="T48" fmla="*/ 131 w 303"/>
                <a:gd name="T49" fmla="*/ 295 h 303"/>
                <a:gd name="T50" fmla="*/ 139 w 303"/>
                <a:gd name="T51" fmla="*/ 303 h 303"/>
                <a:gd name="T52" fmla="*/ 177 w 303"/>
                <a:gd name="T53" fmla="*/ 298 h 303"/>
                <a:gd name="T54" fmla="*/ 205 w 303"/>
                <a:gd name="T55" fmla="*/ 286 h 303"/>
                <a:gd name="T56" fmla="*/ 216 w 303"/>
                <a:gd name="T57" fmla="*/ 289 h 303"/>
                <a:gd name="T58" fmla="*/ 246 w 303"/>
                <a:gd name="T59" fmla="*/ 265 h 303"/>
                <a:gd name="T60" fmla="*/ 265 w 303"/>
                <a:gd name="T61" fmla="*/ 242 h 303"/>
                <a:gd name="T62" fmla="*/ 276 w 303"/>
                <a:gd name="T63" fmla="*/ 238 h 303"/>
                <a:gd name="T64" fmla="*/ 292 w 303"/>
                <a:gd name="T65" fmla="*/ 204 h 303"/>
                <a:gd name="T66" fmla="*/ 295 w 303"/>
                <a:gd name="T67" fmla="*/ 172 h 303"/>
                <a:gd name="T68" fmla="*/ 303 w 303"/>
                <a:gd name="T69" fmla="*/ 164 h 303"/>
                <a:gd name="T70" fmla="*/ 298 w 303"/>
                <a:gd name="T71" fmla="*/ 126 h 303"/>
                <a:gd name="T72" fmla="*/ 222 w 303"/>
                <a:gd name="T73" fmla="*/ 188 h 303"/>
                <a:gd name="T74" fmla="*/ 202 w 303"/>
                <a:gd name="T75" fmla="*/ 166 h 303"/>
                <a:gd name="T76" fmla="*/ 181 w 303"/>
                <a:gd name="T77" fmla="*/ 164 h 303"/>
                <a:gd name="T78" fmla="*/ 164 w 303"/>
                <a:gd name="T79" fmla="*/ 246 h 303"/>
                <a:gd name="T80" fmla="*/ 145 w 303"/>
                <a:gd name="T81" fmla="*/ 164 h 303"/>
                <a:gd name="T82" fmla="*/ 139 w 303"/>
                <a:gd name="T83" fmla="*/ 246 h 303"/>
                <a:gd name="T84" fmla="*/ 121 w 303"/>
                <a:gd name="T85" fmla="*/ 164 h 303"/>
                <a:gd name="T86" fmla="*/ 103 w 303"/>
                <a:gd name="T87" fmla="*/ 166 h 303"/>
                <a:gd name="T88" fmla="*/ 88 w 303"/>
                <a:gd name="T89" fmla="*/ 174 h 303"/>
                <a:gd name="T90" fmla="*/ 71 w 303"/>
                <a:gd name="T91" fmla="*/ 201 h 303"/>
                <a:gd name="T92" fmla="*/ 57 w 303"/>
                <a:gd name="T93" fmla="*/ 141 h 303"/>
                <a:gd name="T94" fmla="*/ 98 w 303"/>
                <a:gd name="T95" fmla="*/ 71 h 303"/>
                <a:gd name="T96" fmla="*/ 151 w 303"/>
                <a:gd name="T97" fmla="*/ 55 h 303"/>
                <a:gd name="T98" fmla="*/ 205 w 303"/>
                <a:gd name="T99" fmla="*/ 71 h 303"/>
                <a:gd name="T100" fmla="*/ 248 w 303"/>
                <a:gd name="T101" fmla="*/ 141 h 303"/>
                <a:gd name="T102" fmla="*/ 233 w 303"/>
                <a:gd name="T103" fmla="*/ 201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03" h="303">
                  <a:moveTo>
                    <a:pt x="295" y="126"/>
                  </a:moveTo>
                  <a:lnTo>
                    <a:pt x="278" y="126"/>
                  </a:lnTo>
                  <a:lnTo>
                    <a:pt x="278" y="126"/>
                  </a:lnTo>
                  <a:lnTo>
                    <a:pt x="271" y="107"/>
                  </a:lnTo>
                  <a:lnTo>
                    <a:pt x="287" y="98"/>
                  </a:lnTo>
                  <a:lnTo>
                    <a:pt x="287" y="98"/>
                  </a:lnTo>
                  <a:lnTo>
                    <a:pt x="290" y="96"/>
                  </a:lnTo>
                  <a:lnTo>
                    <a:pt x="290" y="93"/>
                  </a:lnTo>
                  <a:lnTo>
                    <a:pt x="290" y="90"/>
                  </a:lnTo>
                  <a:lnTo>
                    <a:pt x="290" y="87"/>
                  </a:lnTo>
                  <a:lnTo>
                    <a:pt x="274" y="60"/>
                  </a:lnTo>
                  <a:lnTo>
                    <a:pt x="274" y="60"/>
                  </a:lnTo>
                  <a:lnTo>
                    <a:pt x="273" y="59"/>
                  </a:lnTo>
                  <a:lnTo>
                    <a:pt x="270" y="57"/>
                  </a:lnTo>
                  <a:lnTo>
                    <a:pt x="267" y="57"/>
                  </a:lnTo>
                  <a:lnTo>
                    <a:pt x="263" y="57"/>
                  </a:lnTo>
                  <a:lnTo>
                    <a:pt x="248" y="66"/>
                  </a:lnTo>
                  <a:lnTo>
                    <a:pt x="248" y="66"/>
                  </a:lnTo>
                  <a:lnTo>
                    <a:pt x="233" y="54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3" y="35"/>
                  </a:lnTo>
                  <a:lnTo>
                    <a:pt x="243" y="32"/>
                  </a:lnTo>
                  <a:lnTo>
                    <a:pt x="241" y="29"/>
                  </a:lnTo>
                  <a:lnTo>
                    <a:pt x="240" y="27"/>
                  </a:lnTo>
                  <a:lnTo>
                    <a:pt x="213" y="11"/>
                  </a:lnTo>
                  <a:lnTo>
                    <a:pt x="213" y="11"/>
                  </a:lnTo>
                  <a:lnTo>
                    <a:pt x="210" y="10"/>
                  </a:lnTo>
                  <a:lnTo>
                    <a:pt x="207" y="11"/>
                  </a:lnTo>
                  <a:lnTo>
                    <a:pt x="203" y="11"/>
                  </a:lnTo>
                  <a:lnTo>
                    <a:pt x="202" y="14"/>
                  </a:lnTo>
                  <a:lnTo>
                    <a:pt x="192" y="30"/>
                  </a:lnTo>
                  <a:lnTo>
                    <a:pt x="192" y="30"/>
                  </a:lnTo>
                  <a:lnTo>
                    <a:pt x="173" y="25"/>
                  </a:lnTo>
                  <a:lnTo>
                    <a:pt x="173" y="8"/>
                  </a:lnTo>
                  <a:lnTo>
                    <a:pt x="173" y="8"/>
                  </a:lnTo>
                  <a:lnTo>
                    <a:pt x="173" y="5"/>
                  </a:lnTo>
                  <a:lnTo>
                    <a:pt x="172" y="2"/>
                  </a:lnTo>
                  <a:lnTo>
                    <a:pt x="169" y="0"/>
                  </a:lnTo>
                  <a:lnTo>
                    <a:pt x="166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2" y="0"/>
                  </a:lnTo>
                  <a:lnTo>
                    <a:pt x="129" y="2"/>
                  </a:lnTo>
                  <a:lnTo>
                    <a:pt x="128" y="5"/>
                  </a:lnTo>
                  <a:lnTo>
                    <a:pt x="126" y="8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07" y="32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6" y="14"/>
                  </a:lnTo>
                  <a:lnTo>
                    <a:pt x="95" y="13"/>
                  </a:lnTo>
                  <a:lnTo>
                    <a:pt x="91" y="13"/>
                  </a:lnTo>
                  <a:lnTo>
                    <a:pt x="88" y="13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58" y="30"/>
                  </a:lnTo>
                  <a:lnTo>
                    <a:pt x="58" y="33"/>
                  </a:lnTo>
                  <a:lnTo>
                    <a:pt x="58" y="36"/>
                  </a:lnTo>
                  <a:lnTo>
                    <a:pt x="58" y="40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54" y="7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6" y="60"/>
                  </a:lnTo>
                  <a:lnTo>
                    <a:pt x="33" y="60"/>
                  </a:lnTo>
                  <a:lnTo>
                    <a:pt x="30" y="62"/>
                  </a:lnTo>
                  <a:lnTo>
                    <a:pt x="28" y="63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1" y="93"/>
                  </a:lnTo>
                  <a:lnTo>
                    <a:pt x="11" y="96"/>
                  </a:lnTo>
                  <a:lnTo>
                    <a:pt x="13" y="100"/>
                  </a:lnTo>
                  <a:lnTo>
                    <a:pt x="16" y="101"/>
                  </a:lnTo>
                  <a:lnTo>
                    <a:pt x="32" y="111"/>
                  </a:lnTo>
                  <a:lnTo>
                    <a:pt x="32" y="111"/>
                  </a:lnTo>
                  <a:lnTo>
                    <a:pt x="27" y="130"/>
                  </a:lnTo>
                  <a:lnTo>
                    <a:pt x="8" y="130"/>
                  </a:lnTo>
                  <a:lnTo>
                    <a:pt x="8" y="130"/>
                  </a:lnTo>
                  <a:lnTo>
                    <a:pt x="5" y="130"/>
                  </a:lnTo>
                  <a:lnTo>
                    <a:pt x="3" y="131"/>
                  </a:lnTo>
                  <a:lnTo>
                    <a:pt x="2" y="134"/>
                  </a:lnTo>
                  <a:lnTo>
                    <a:pt x="0" y="137"/>
                  </a:lnTo>
                  <a:lnTo>
                    <a:pt x="0" y="169"/>
                  </a:lnTo>
                  <a:lnTo>
                    <a:pt x="0" y="169"/>
                  </a:lnTo>
                  <a:lnTo>
                    <a:pt x="2" y="172"/>
                  </a:lnTo>
                  <a:lnTo>
                    <a:pt x="3" y="174"/>
                  </a:lnTo>
                  <a:lnTo>
                    <a:pt x="5" y="175"/>
                  </a:lnTo>
                  <a:lnTo>
                    <a:pt x="8" y="177"/>
                  </a:lnTo>
                  <a:lnTo>
                    <a:pt x="27" y="177"/>
                  </a:lnTo>
                  <a:lnTo>
                    <a:pt x="27" y="177"/>
                  </a:lnTo>
                  <a:lnTo>
                    <a:pt x="33" y="196"/>
                  </a:lnTo>
                  <a:lnTo>
                    <a:pt x="17" y="204"/>
                  </a:lnTo>
                  <a:lnTo>
                    <a:pt x="17" y="204"/>
                  </a:lnTo>
                  <a:lnTo>
                    <a:pt x="14" y="207"/>
                  </a:lnTo>
                  <a:lnTo>
                    <a:pt x="13" y="208"/>
                  </a:lnTo>
                  <a:lnTo>
                    <a:pt x="13" y="212"/>
                  </a:lnTo>
                  <a:lnTo>
                    <a:pt x="14" y="215"/>
                  </a:lnTo>
                  <a:lnTo>
                    <a:pt x="30" y="242"/>
                  </a:lnTo>
                  <a:lnTo>
                    <a:pt x="30" y="242"/>
                  </a:lnTo>
                  <a:lnTo>
                    <a:pt x="32" y="245"/>
                  </a:lnTo>
                  <a:lnTo>
                    <a:pt x="35" y="245"/>
                  </a:lnTo>
                  <a:lnTo>
                    <a:pt x="38" y="245"/>
                  </a:lnTo>
                  <a:lnTo>
                    <a:pt x="41" y="245"/>
                  </a:lnTo>
                  <a:lnTo>
                    <a:pt x="57" y="235"/>
                  </a:lnTo>
                  <a:lnTo>
                    <a:pt x="57" y="235"/>
                  </a:lnTo>
                  <a:lnTo>
                    <a:pt x="71" y="249"/>
                  </a:lnTo>
                  <a:lnTo>
                    <a:pt x="62" y="265"/>
                  </a:lnTo>
                  <a:lnTo>
                    <a:pt x="62" y="265"/>
                  </a:lnTo>
                  <a:lnTo>
                    <a:pt x="60" y="267"/>
                  </a:lnTo>
                  <a:lnTo>
                    <a:pt x="62" y="270"/>
                  </a:lnTo>
                  <a:lnTo>
                    <a:pt x="62" y="273"/>
                  </a:lnTo>
                  <a:lnTo>
                    <a:pt x="65" y="275"/>
                  </a:lnTo>
                  <a:lnTo>
                    <a:pt x="91" y="290"/>
                  </a:lnTo>
                  <a:lnTo>
                    <a:pt x="91" y="290"/>
                  </a:lnTo>
                  <a:lnTo>
                    <a:pt x="95" y="292"/>
                  </a:lnTo>
                  <a:lnTo>
                    <a:pt x="98" y="292"/>
                  </a:lnTo>
                  <a:lnTo>
                    <a:pt x="99" y="290"/>
                  </a:lnTo>
                  <a:lnTo>
                    <a:pt x="103" y="287"/>
                  </a:lnTo>
                  <a:lnTo>
                    <a:pt x="112" y="271"/>
                  </a:lnTo>
                  <a:lnTo>
                    <a:pt x="112" y="271"/>
                  </a:lnTo>
                  <a:lnTo>
                    <a:pt x="131" y="276"/>
                  </a:lnTo>
                  <a:lnTo>
                    <a:pt x="131" y="295"/>
                  </a:lnTo>
                  <a:lnTo>
                    <a:pt x="131" y="295"/>
                  </a:lnTo>
                  <a:lnTo>
                    <a:pt x="131" y="298"/>
                  </a:lnTo>
                  <a:lnTo>
                    <a:pt x="132" y="300"/>
                  </a:lnTo>
                  <a:lnTo>
                    <a:pt x="136" y="301"/>
                  </a:lnTo>
                  <a:lnTo>
                    <a:pt x="139" y="303"/>
                  </a:lnTo>
                  <a:lnTo>
                    <a:pt x="169" y="303"/>
                  </a:lnTo>
                  <a:lnTo>
                    <a:pt x="169" y="303"/>
                  </a:lnTo>
                  <a:lnTo>
                    <a:pt x="172" y="301"/>
                  </a:lnTo>
                  <a:lnTo>
                    <a:pt x="175" y="300"/>
                  </a:lnTo>
                  <a:lnTo>
                    <a:pt x="177" y="298"/>
                  </a:lnTo>
                  <a:lnTo>
                    <a:pt x="177" y="295"/>
                  </a:lnTo>
                  <a:lnTo>
                    <a:pt x="177" y="276"/>
                  </a:lnTo>
                  <a:lnTo>
                    <a:pt x="177" y="276"/>
                  </a:lnTo>
                  <a:lnTo>
                    <a:pt x="196" y="270"/>
                  </a:lnTo>
                  <a:lnTo>
                    <a:pt x="205" y="286"/>
                  </a:lnTo>
                  <a:lnTo>
                    <a:pt x="205" y="286"/>
                  </a:lnTo>
                  <a:lnTo>
                    <a:pt x="207" y="289"/>
                  </a:lnTo>
                  <a:lnTo>
                    <a:pt x="210" y="290"/>
                  </a:lnTo>
                  <a:lnTo>
                    <a:pt x="213" y="290"/>
                  </a:lnTo>
                  <a:lnTo>
                    <a:pt x="216" y="289"/>
                  </a:lnTo>
                  <a:lnTo>
                    <a:pt x="243" y="273"/>
                  </a:lnTo>
                  <a:lnTo>
                    <a:pt x="243" y="273"/>
                  </a:lnTo>
                  <a:lnTo>
                    <a:pt x="244" y="271"/>
                  </a:lnTo>
                  <a:lnTo>
                    <a:pt x="246" y="268"/>
                  </a:lnTo>
                  <a:lnTo>
                    <a:pt x="246" y="265"/>
                  </a:lnTo>
                  <a:lnTo>
                    <a:pt x="246" y="262"/>
                  </a:lnTo>
                  <a:lnTo>
                    <a:pt x="237" y="246"/>
                  </a:lnTo>
                  <a:lnTo>
                    <a:pt x="237" y="246"/>
                  </a:lnTo>
                  <a:lnTo>
                    <a:pt x="249" y="232"/>
                  </a:lnTo>
                  <a:lnTo>
                    <a:pt x="265" y="242"/>
                  </a:lnTo>
                  <a:lnTo>
                    <a:pt x="265" y="242"/>
                  </a:lnTo>
                  <a:lnTo>
                    <a:pt x="268" y="243"/>
                  </a:lnTo>
                  <a:lnTo>
                    <a:pt x="271" y="242"/>
                  </a:lnTo>
                  <a:lnTo>
                    <a:pt x="274" y="242"/>
                  </a:lnTo>
                  <a:lnTo>
                    <a:pt x="276" y="238"/>
                  </a:lnTo>
                  <a:lnTo>
                    <a:pt x="292" y="212"/>
                  </a:lnTo>
                  <a:lnTo>
                    <a:pt x="292" y="212"/>
                  </a:lnTo>
                  <a:lnTo>
                    <a:pt x="293" y="208"/>
                  </a:lnTo>
                  <a:lnTo>
                    <a:pt x="292" y="205"/>
                  </a:lnTo>
                  <a:lnTo>
                    <a:pt x="292" y="204"/>
                  </a:lnTo>
                  <a:lnTo>
                    <a:pt x="289" y="201"/>
                  </a:lnTo>
                  <a:lnTo>
                    <a:pt x="273" y="191"/>
                  </a:lnTo>
                  <a:lnTo>
                    <a:pt x="273" y="191"/>
                  </a:lnTo>
                  <a:lnTo>
                    <a:pt x="278" y="172"/>
                  </a:lnTo>
                  <a:lnTo>
                    <a:pt x="295" y="172"/>
                  </a:lnTo>
                  <a:lnTo>
                    <a:pt x="295" y="172"/>
                  </a:lnTo>
                  <a:lnTo>
                    <a:pt x="298" y="172"/>
                  </a:lnTo>
                  <a:lnTo>
                    <a:pt x="301" y="171"/>
                  </a:lnTo>
                  <a:lnTo>
                    <a:pt x="303" y="167"/>
                  </a:lnTo>
                  <a:lnTo>
                    <a:pt x="303" y="164"/>
                  </a:lnTo>
                  <a:lnTo>
                    <a:pt x="303" y="134"/>
                  </a:lnTo>
                  <a:lnTo>
                    <a:pt x="303" y="134"/>
                  </a:lnTo>
                  <a:lnTo>
                    <a:pt x="303" y="131"/>
                  </a:lnTo>
                  <a:lnTo>
                    <a:pt x="301" y="128"/>
                  </a:lnTo>
                  <a:lnTo>
                    <a:pt x="298" y="126"/>
                  </a:lnTo>
                  <a:lnTo>
                    <a:pt x="295" y="126"/>
                  </a:lnTo>
                  <a:lnTo>
                    <a:pt x="295" y="126"/>
                  </a:lnTo>
                  <a:close/>
                  <a:moveTo>
                    <a:pt x="224" y="215"/>
                  </a:moveTo>
                  <a:lnTo>
                    <a:pt x="222" y="188"/>
                  </a:lnTo>
                  <a:lnTo>
                    <a:pt x="222" y="188"/>
                  </a:lnTo>
                  <a:lnTo>
                    <a:pt x="219" y="180"/>
                  </a:lnTo>
                  <a:lnTo>
                    <a:pt x="214" y="174"/>
                  </a:lnTo>
                  <a:lnTo>
                    <a:pt x="208" y="169"/>
                  </a:lnTo>
                  <a:lnTo>
                    <a:pt x="202" y="166"/>
                  </a:lnTo>
                  <a:lnTo>
                    <a:pt x="202" y="166"/>
                  </a:lnTo>
                  <a:lnTo>
                    <a:pt x="183" y="164"/>
                  </a:lnTo>
                  <a:lnTo>
                    <a:pt x="183" y="164"/>
                  </a:lnTo>
                  <a:lnTo>
                    <a:pt x="183" y="164"/>
                  </a:lnTo>
                  <a:lnTo>
                    <a:pt x="181" y="164"/>
                  </a:lnTo>
                  <a:lnTo>
                    <a:pt x="181" y="164"/>
                  </a:lnTo>
                  <a:lnTo>
                    <a:pt x="196" y="177"/>
                  </a:lnTo>
                  <a:lnTo>
                    <a:pt x="178" y="185"/>
                  </a:lnTo>
                  <a:lnTo>
                    <a:pt x="186" y="199"/>
                  </a:lnTo>
                  <a:lnTo>
                    <a:pt x="164" y="246"/>
                  </a:lnTo>
                  <a:lnTo>
                    <a:pt x="164" y="246"/>
                  </a:lnTo>
                  <a:lnTo>
                    <a:pt x="162" y="246"/>
                  </a:lnTo>
                  <a:lnTo>
                    <a:pt x="159" y="180"/>
                  </a:lnTo>
                  <a:lnTo>
                    <a:pt x="162" y="178"/>
                  </a:lnTo>
                  <a:lnTo>
                    <a:pt x="158" y="164"/>
                  </a:lnTo>
                  <a:lnTo>
                    <a:pt x="145" y="164"/>
                  </a:lnTo>
                  <a:lnTo>
                    <a:pt x="140" y="178"/>
                  </a:lnTo>
                  <a:lnTo>
                    <a:pt x="144" y="180"/>
                  </a:lnTo>
                  <a:lnTo>
                    <a:pt x="140" y="246"/>
                  </a:lnTo>
                  <a:lnTo>
                    <a:pt x="140" y="246"/>
                  </a:lnTo>
                  <a:lnTo>
                    <a:pt x="139" y="246"/>
                  </a:lnTo>
                  <a:lnTo>
                    <a:pt x="117" y="199"/>
                  </a:lnTo>
                  <a:lnTo>
                    <a:pt x="125" y="185"/>
                  </a:lnTo>
                  <a:lnTo>
                    <a:pt x="107" y="177"/>
                  </a:lnTo>
                  <a:lnTo>
                    <a:pt x="123" y="164"/>
                  </a:lnTo>
                  <a:lnTo>
                    <a:pt x="121" y="164"/>
                  </a:lnTo>
                  <a:lnTo>
                    <a:pt x="121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03" y="166"/>
                  </a:lnTo>
                  <a:lnTo>
                    <a:pt x="103" y="166"/>
                  </a:lnTo>
                  <a:lnTo>
                    <a:pt x="103" y="166"/>
                  </a:lnTo>
                  <a:lnTo>
                    <a:pt x="103" y="166"/>
                  </a:lnTo>
                  <a:lnTo>
                    <a:pt x="95" y="169"/>
                  </a:lnTo>
                  <a:lnTo>
                    <a:pt x="88" y="174"/>
                  </a:lnTo>
                  <a:lnTo>
                    <a:pt x="84" y="180"/>
                  </a:lnTo>
                  <a:lnTo>
                    <a:pt x="82" y="188"/>
                  </a:lnTo>
                  <a:lnTo>
                    <a:pt x="80" y="215"/>
                  </a:lnTo>
                  <a:lnTo>
                    <a:pt x="80" y="215"/>
                  </a:lnTo>
                  <a:lnTo>
                    <a:pt x="71" y="201"/>
                  </a:lnTo>
                  <a:lnTo>
                    <a:pt x="63" y="186"/>
                  </a:lnTo>
                  <a:lnTo>
                    <a:pt x="58" y="169"/>
                  </a:lnTo>
                  <a:lnTo>
                    <a:pt x="57" y="152"/>
                  </a:lnTo>
                  <a:lnTo>
                    <a:pt x="57" y="152"/>
                  </a:lnTo>
                  <a:lnTo>
                    <a:pt x="57" y="141"/>
                  </a:lnTo>
                  <a:lnTo>
                    <a:pt x="58" y="131"/>
                  </a:lnTo>
                  <a:lnTo>
                    <a:pt x="63" y="114"/>
                  </a:lnTo>
                  <a:lnTo>
                    <a:pt x="73" y="98"/>
                  </a:lnTo>
                  <a:lnTo>
                    <a:pt x="84" y="84"/>
                  </a:lnTo>
                  <a:lnTo>
                    <a:pt x="98" y="71"/>
                  </a:lnTo>
                  <a:lnTo>
                    <a:pt x="115" y="63"/>
                  </a:lnTo>
                  <a:lnTo>
                    <a:pt x="132" y="57"/>
                  </a:lnTo>
                  <a:lnTo>
                    <a:pt x="142" y="55"/>
                  </a:lnTo>
                  <a:lnTo>
                    <a:pt x="151" y="55"/>
                  </a:lnTo>
                  <a:lnTo>
                    <a:pt x="151" y="55"/>
                  </a:lnTo>
                  <a:lnTo>
                    <a:pt x="162" y="55"/>
                  </a:lnTo>
                  <a:lnTo>
                    <a:pt x="172" y="57"/>
                  </a:lnTo>
                  <a:lnTo>
                    <a:pt x="180" y="60"/>
                  </a:lnTo>
                  <a:lnTo>
                    <a:pt x="189" y="63"/>
                  </a:lnTo>
                  <a:lnTo>
                    <a:pt x="205" y="71"/>
                  </a:lnTo>
                  <a:lnTo>
                    <a:pt x="219" y="84"/>
                  </a:lnTo>
                  <a:lnTo>
                    <a:pt x="232" y="98"/>
                  </a:lnTo>
                  <a:lnTo>
                    <a:pt x="240" y="114"/>
                  </a:lnTo>
                  <a:lnTo>
                    <a:pt x="246" y="131"/>
                  </a:lnTo>
                  <a:lnTo>
                    <a:pt x="248" y="141"/>
                  </a:lnTo>
                  <a:lnTo>
                    <a:pt x="248" y="152"/>
                  </a:lnTo>
                  <a:lnTo>
                    <a:pt x="248" y="152"/>
                  </a:lnTo>
                  <a:lnTo>
                    <a:pt x="246" y="169"/>
                  </a:lnTo>
                  <a:lnTo>
                    <a:pt x="241" y="186"/>
                  </a:lnTo>
                  <a:lnTo>
                    <a:pt x="233" y="201"/>
                  </a:lnTo>
                  <a:lnTo>
                    <a:pt x="224" y="215"/>
                  </a:lnTo>
                  <a:lnTo>
                    <a:pt x="224" y="2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21" name="Freeform 143">
              <a:extLst>
                <a:ext uri="{FF2B5EF4-FFF2-40B4-BE49-F238E27FC236}">
                  <a16:creationId xmlns:a16="http://schemas.microsoft.com/office/drawing/2014/main" id="{32DF6323-659A-C741-C44F-CC0A84E966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5949" y="3351429"/>
              <a:ext cx="220224" cy="228630"/>
            </a:xfrm>
            <a:custGeom>
              <a:avLst/>
              <a:gdLst>
                <a:gd name="T0" fmla="*/ 115 w 131"/>
                <a:gd name="T1" fmla="*/ 76 h 136"/>
                <a:gd name="T2" fmla="*/ 113 w 131"/>
                <a:gd name="T3" fmla="*/ 76 h 136"/>
                <a:gd name="T4" fmla="*/ 115 w 131"/>
                <a:gd name="T5" fmla="*/ 68 h 136"/>
                <a:gd name="T6" fmla="*/ 113 w 131"/>
                <a:gd name="T7" fmla="*/ 57 h 136"/>
                <a:gd name="T8" fmla="*/ 128 w 131"/>
                <a:gd name="T9" fmla="*/ 49 h 136"/>
                <a:gd name="T10" fmla="*/ 129 w 131"/>
                <a:gd name="T11" fmla="*/ 41 h 136"/>
                <a:gd name="T12" fmla="*/ 118 w 131"/>
                <a:gd name="T13" fmla="*/ 22 h 136"/>
                <a:gd name="T14" fmla="*/ 112 w 131"/>
                <a:gd name="T15" fmla="*/ 20 h 136"/>
                <a:gd name="T16" fmla="*/ 98 w 131"/>
                <a:gd name="T17" fmla="*/ 28 h 136"/>
                <a:gd name="T18" fmla="*/ 96 w 131"/>
                <a:gd name="T19" fmla="*/ 30 h 136"/>
                <a:gd name="T20" fmla="*/ 79 w 131"/>
                <a:gd name="T21" fmla="*/ 20 h 136"/>
                <a:gd name="T22" fmla="*/ 79 w 131"/>
                <a:gd name="T23" fmla="*/ 5 h 136"/>
                <a:gd name="T24" fmla="*/ 74 w 131"/>
                <a:gd name="T25" fmla="*/ 0 h 136"/>
                <a:gd name="T26" fmla="*/ 54 w 131"/>
                <a:gd name="T27" fmla="*/ 0 h 136"/>
                <a:gd name="T28" fmla="*/ 47 w 131"/>
                <a:gd name="T29" fmla="*/ 5 h 136"/>
                <a:gd name="T30" fmla="*/ 47 w 131"/>
                <a:gd name="T31" fmla="*/ 20 h 136"/>
                <a:gd name="T32" fmla="*/ 49 w 131"/>
                <a:gd name="T33" fmla="*/ 22 h 136"/>
                <a:gd name="T34" fmla="*/ 31 w 131"/>
                <a:gd name="T35" fmla="*/ 32 h 136"/>
                <a:gd name="T36" fmla="*/ 17 w 131"/>
                <a:gd name="T37" fmla="*/ 24 h 136"/>
                <a:gd name="T38" fmla="*/ 11 w 131"/>
                <a:gd name="T39" fmla="*/ 27 h 136"/>
                <a:gd name="T40" fmla="*/ 0 w 131"/>
                <a:gd name="T41" fmla="*/ 44 h 136"/>
                <a:gd name="T42" fmla="*/ 2 w 131"/>
                <a:gd name="T43" fmla="*/ 52 h 136"/>
                <a:gd name="T44" fmla="*/ 16 w 131"/>
                <a:gd name="T45" fmla="*/ 60 h 136"/>
                <a:gd name="T46" fmla="*/ 17 w 131"/>
                <a:gd name="T47" fmla="*/ 60 h 136"/>
                <a:gd name="T48" fmla="*/ 16 w 131"/>
                <a:gd name="T49" fmla="*/ 68 h 136"/>
                <a:gd name="T50" fmla="*/ 5 w 131"/>
                <a:gd name="T51" fmla="*/ 87 h 136"/>
                <a:gd name="T52" fmla="*/ 2 w 131"/>
                <a:gd name="T53" fmla="*/ 90 h 136"/>
                <a:gd name="T54" fmla="*/ 13 w 131"/>
                <a:gd name="T55" fmla="*/ 114 h 136"/>
                <a:gd name="T56" fmla="*/ 16 w 131"/>
                <a:gd name="T57" fmla="*/ 115 h 136"/>
                <a:gd name="T58" fmla="*/ 35 w 131"/>
                <a:gd name="T59" fmla="*/ 107 h 136"/>
                <a:gd name="T60" fmla="*/ 35 w 131"/>
                <a:gd name="T61" fmla="*/ 106 h 136"/>
                <a:gd name="T62" fmla="*/ 43 w 131"/>
                <a:gd name="T63" fmla="*/ 112 h 136"/>
                <a:gd name="T64" fmla="*/ 52 w 131"/>
                <a:gd name="T65" fmla="*/ 131 h 136"/>
                <a:gd name="T66" fmla="*/ 54 w 131"/>
                <a:gd name="T67" fmla="*/ 134 h 136"/>
                <a:gd name="T68" fmla="*/ 79 w 131"/>
                <a:gd name="T69" fmla="*/ 136 h 136"/>
                <a:gd name="T70" fmla="*/ 82 w 131"/>
                <a:gd name="T71" fmla="*/ 134 h 136"/>
                <a:gd name="T72" fmla="*/ 84 w 131"/>
                <a:gd name="T73" fmla="*/ 115 h 136"/>
                <a:gd name="T74" fmla="*/ 84 w 131"/>
                <a:gd name="T75" fmla="*/ 114 h 136"/>
                <a:gd name="T76" fmla="*/ 91 w 131"/>
                <a:gd name="T77" fmla="*/ 109 h 136"/>
                <a:gd name="T78" fmla="*/ 113 w 131"/>
                <a:gd name="T79" fmla="*/ 112 h 136"/>
                <a:gd name="T80" fmla="*/ 117 w 131"/>
                <a:gd name="T81" fmla="*/ 112 h 136"/>
                <a:gd name="T82" fmla="*/ 131 w 131"/>
                <a:gd name="T83" fmla="*/ 91 h 136"/>
                <a:gd name="T84" fmla="*/ 131 w 131"/>
                <a:gd name="T85" fmla="*/ 87 h 136"/>
                <a:gd name="T86" fmla="*/ 129 w 131"/>
                <a:gd name="T87" fmla="*/ 84 h 136"/>
                <a:gd name="T88" fmla="*/ 66 w 131"/>
                <a:gd name="T89" fmla="*/ 91 h 136"/>
                <a:gd name="T90" fmla="*/ 57 w 131"/>
                <a:gd name="T91" fmla="*/ 90 h 136"/>
                <a:gd name="T92" fmla="*/ 44 w 131"/>
                <a:gd name="T93" fmla="*/ 77 h 136"/>
                <a:gd name="T94" fmla="*/ 43 w 131"/>
                <a:gd name="T95" fmla="*/ 68 h 136"/>
                <a:gd name="T96" fmla="*/ 43 w 131"/>
                <a:gd name="T97" fmla="*/ 63 h 136"/>
                <a:gd name="T98" fmla="*/ 49 w 131"/>
                <a:gd name="T99" fmla="*/ 50 h 136"/>
                <a:gd name="T100" fmla="*/ 61 w 131"/>
                <a:gd name="T101" fmla="*/ 44 h 136"/>
                <a:gd name="T102" fmla="*/ 66 w 131"/>
                <a:gd name="T103" fmla="*/ 44 h 136"/>
                <a:gd name="T104" fmla="*/ 74 w 131"/>
                <a:gd name="T105" fmla="*/ 46 h 136"/>
                <a:gd name="T106" fmla="*/ 87 w 131"/>
                <a:gd name="T107" fmla="*/ 58 h 136"/>
                <a:gd name="T108" fmla="*/ 90 w 131"/>
                <a:gd name="T109" fmla="*/ 68 h 136"/>
                <a:gd name="T110" fmla="*/ 88 w 131"/>
                <a:gd name="T111" fmla="*/ 73 h 136"/>
                <a:gd name="T112" fmla="*/ 82 w 131"/>
                <a:gd name="T113" fmla="*/ 85 h 136"/>
                <a:gd name="T114" fmla="*/ 71 w 131"/>
                <a:gd name="T115" fmla="*/ 91 h 136"/>
                <a:gd name="T116" fmla="*/ 66 w 131"/>
                <a:gd name="T117" fmla="*/ 9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1" h="136">
                  <a:moveTo>
                    <a:pt x="129" y="84"/>
                  </a:moveTo>
                  <a:lnTo>
                    <a:pt x="115" y="76"/>
                  </a:lnTo>
                  <a:lnTo>
                    <a:pt x="115" y="76"/>
                  </a:lnTo>
                  <a:lnTo>
                    <a:pt x="113" y="76"/>
                  </a:lnTo>
                  <a:lnTo>
                    <a:pt x="113" y="76"/>
                  </a:lnTo>
                  <a:lnTo>
                    <a:pt x="115" y="68"/>
                  </a:lnTo>
                  <a:lnTo>
                    <a:pt x="115" y="68"/>
                  </a:lnTo>
                  <a:lnTo>
                    <a:pt x="113" y="57"/>
                  </a:lnTo>
                  <a:lnTo>
                    <a:pt x="128" y="49"/>
                  </a:lnTo>
                  <a:lnTo>
                    <a:pt x="128" y="49"/>
                  </a:lnTo>
                  <a:lnTo>
                    <a:pt x="129" y="46"/>
                  </a:lnTo>
                  <a:lnTo>
                    <a:pt x="129" y="41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5" y="20"/>
                  </a:lnTo>
                  <a:lnTo>
                    <a:pt x="112" y="20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6" y="30"/>
                  </a:lnTo>
                  <a:lnTo>
                    <a:pt x="96" y="30"/>
                  </a:lnTo>
                  <a:lnTo>
                    <a:pt x="88" y="24"/>
                  </a:lnTo>
                  <a:lnTo>
                    <a:pt x="79" y="20"/>
                  </a:lnTo>
                  <a:lnTo>
                    <a:pt x="79" y="5"/>
                  </a:lnTo>
                  <a:lnTo>
                    <a:pt x="79" y="5"/>
                  </a:lnTo>
                  <a:lnTo>
                    <a:pt x="79" y="2"/>
                  </a:lnTo>
                  <a:lnTo>
                    <a:pt x="7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49" y="2"/>
                  </a:lnTo>
                  <a:lnTo>
                    <a:pt x="47" y="5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39" y="27"/>
                  </a:lnTo>
                  <a:lnTo>
                    <a:pt x="31" y="32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4" y="24"/>
                  </a:lnTo>
                  <a:lnTo>
                    <a:pt x="11" y="27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9"/>
                  </a:lnTo>
                  <a:lnTo>
                    <a:pt x="2" y="52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7" y="60"/>
                  </a:lnTo>
                  <a:lnTo>
                    <a:pt x="17" y="60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7" y="79"/>
                  </a:lnTo>
                  <a:lnTo>
                    <a:pt x="5" y="87"/>
                  </a:lnTo>
                  <a:lnTo>
                    <a:pt x="5" y="87"/>
                  </a:lnTo>
                  <a:lnTo>
                    <a:pt x="2" y="90"/>
                  </a:lnTo>
                  <a:lnTo>
                    <a:pt x="2" y="95"/>
                  </a:lnTo>
                  <a:lnTo>
                    <a:pt x="13" y="114"/>
                  </a:lnTo>
                  <a:lnTo>
                    <a:pt x="13" y="114"/>
                  </a:lnTo>
                  <a:lnTo>
                    <a:pt x="16" y="115"/>
                  </a:lnTo>
                  <a:lnTo>
                    <a:pt x="20" y="115"/>
                  </a:lnTo>
                  <a:lnTo>
                    <a:pt x="35" y="107"/>
                  </a:lnTo>
                  <a:lnTo>
                    <a:pt x="35" y="107"/>
                  </a:lnTo>
                  <a:lnTo>
                    <a:pt x="35" y="106"/>
                  </a:lnTo>
                  <a:lnTo>
                    <a:pt x="35" y="106"/>
                  </a:lnTo>
                  <a:lnTo>
                    <a:pt x="43" y="112"/>
                  </a:lnTo>
                  <a:lnTo>
                    <a:pt x="52" y="115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4" y="134"/>
                  </a:lnTo>
                  <a:lnTo>
                    <a:pt x="57" y="136"/>
                  </a:lnTo>
                  <a:lnTo>
                    <a:pt x="79" y="136"/>
                  </a:lnTo>
                  <a:lnTo>
                    <a:pt x="79" y="136"/>
                  </a:lnTo>
                  <a:lnTo>
                    <a:pt x="82" y="134"/>
                  </a:lnTo>
                  <a:lnTo>
                    <a:pt x="84" y="131"/>
                  </a:lnTo>
                  <a:lnTo>
                    <a:pt x="84" y="115"/>
                  </a:lnTo>
                  <a:lnTo>
                    <a:pt x="84" y="115"/>
                  </a:lnTo>
                  <a:lnTo>
                    <a:pt x="84" y="114"/>
                  </a:lnTo>
                  <a:lnTo>
                    <a:pt x="84" y="114"/>
                  </a:lnTo>
                  <a:lnTo>
                    <a:pt x="91" y="109"/>
                  </a:lnTo>
                  <a:lnTo>
                    <a:pt x="99" y="104"/>
                  </a:lnTo>
                  <a:lnTo>
                    <a:pt x="113" y="112"/>
                  </a:lnTo>
                  <a:lnTo>
                    <a:pt x="113" y="112"/>
                  </a:lnTo>
                  <a:lnTo>
                    <a:pt x="117" y="112"/>
                  </a:lnTo>
                  <a:lnTo>
                    <a:pt x="120" y="109"/>
                  </a:lnTo>
                  <a:lnTo>
                    <a:pt x="131" y="91"/>
                  </a:lnTo>
                  <a:lnTo>
                    <a:pt x="131" y="91"/>
                  </a:lnTo>
                  <a:lnTo>
                    <a:pt x="131" y="87"/>
                  </a:lnTo>
                  <a:lnTo>
                    <a:pt x="129" y="84"/>
                  </a:lnTo>
                  <a:lnTo>
                    <a:pt x="129" y="84"/>
                  </a:lnTo>
                  <a:close/>
                  <a:moveTo>
                    <a:pt x="66" y="91"/>
                  </a:moveTo>
                  <a:lnTo>
                    <a:pt x="66" y="91"/>
                  </a:lnTo>
                  <a:lnTo>
                    <a:pt x="61" y="91"/>
                  </a:lnTo>
                  <a:lnTo>
                    <a:pt x="57" y="90"/>
                  </a:lnTo>
                  <a:lnTo>
                    <a:pt x="49" y="85"/>
                  </a:lnTo>
                  <a:lnTo>
                    <a:pt x="44" y="77"/>
                  </a:lnTo>
                  <a:lnTo>
                    <a:pt x="43" y="73"/>
                  </a:lnTo>
                  <a:lnTo>
                    <a:pt x="43" y="68"/>
                  </a:lnTo>
                  <a:lnTo>
                    <a:pt x="43" y="68"/>
                  </a:lnTo>
                  <a:lnTo>
                    <a:pt x="43" y="63"/>
                  </a:lnTo>
                  <a:lnTo>
                    <a:pt x="44" y="58"/>
                  </a:lnTo>
                  <a:lnTo>
                    <a:pt x="49" y="50"/>
                  </a:lnTo>
                  <a:lnTo>
                    <a:pt x="57" y="46"/>
                  </a:lnTo>
                  <a:lnTo>
                    <a:pt x="61" y="44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71" y="44"/>
                  </a:lnTo>
                  <a:lnTo>
                    <a:pt x="74" y="46"/>
                  </a:lnTo>
                  <a:lnTo>
                    <a:pt x="82" y="50"/>
                  </a:lnTo>
                  <a:lnTo>
                    <a:pt x="87" y="58"/>
                  </a:lnTo>
                  <a:lnTo>
                    <a:pt x="88" y="63"/>
                  </a:lnTo>
                  <a:lnTo>
                    <a:pt x="90" y="68"/>
                  </a:lnTo>
                  <a:lnTo>
                    <a:pt x="90" y="68"/>
                  </a:lnTo>
                  <a:lnTo>
                    <a:pt x="88" y="73"/>
                  </a:lnTo>
                  <a:lnTo>
                    <a:pt x="87" y="77"/>
                  </a:lnTo>
                  <a:lnTo>
                    <a:pt x="82" y="85"/>
                  </a:lnTo>
                  <a:lnTo>
                    <a:pt x="74" y="90"/>
                  </a:lnTo>
                  <a:lnTo>
                    <a:pt x="71" y="91"/>
                  </a:lnTo>
                  <a:lnTo>
                    <a:pt x="66" y="91"/>
                  </a:lnTo>
                  <a:lnTo>
                    <a:pt x="66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22" name="Freeform 144">
              <a:extLst>
                <a:ext uri="{FF2B5EF4-FFF2-40B4-BE49-F238E27FC236}">
                  <a16:creationId xmlns:a16="http://schemas.microsoft.com/office/drawing/2014/main" id="{C650C12F-3819-1E1E-5BC2-7B85BBE95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638" y="3576697"/>
              <a:ext cx="115996" cy="151299"/>
            </a:xfrm>
            <a:custGeom>
              <a:avLst/>
              <a:gdLst>
                <a:gd name="T0" fmla="*/ 34 w 69"/>
                <a:gd name="T1" fmla="*/ 0 h 90"/>
                <a:gd name="T2" fmla="*/ 34 w 69"/>
                <a:gd name="T3" fmla="*/ 0 h 90"/>
                <a:gd name="T4" fmla="*/ 28 w 69"/>
                <a:gd name="T5" fmla="*/ 0 h 90"/>
                <a:gd name="T6" fmla="*/ 20 w 69"/>
                <a:gd name="T7" fmla="*/ 3 h 90"/>
                <a:gd name="T8" fmla="*/ 15 w 69"/>
                <a:gd name="T9" fmla="*/ 8 h 90"/>
                <a:gd name="T10" fmla="*/ 9 w 69"/>
                <a:gd name="T11" fmla="*/ 13 h 90"/>
                <a:gd name="T12" fmla="*/ 6 w 69"/>
                <a:gd name="T13" fmla="*/ 19 h 90"/>
                <a:gd name="T14" fmla="*/ 3 w 69"/>
                <a:gd name="T15" fmla="*/ 27 h 90"/>
                <a:gd name="T16" fmla="*/ 0 w 69"/>
                <a:gd name="T17" fmla="*/ 36 h 90"/>
                <a:gd name="T18" fmla="*/ 0 w 69"/>
                <a:gd name="T19" fmla="*/ 44 h 90"/>
                <a:gd name="T20" fmla="*/ 0 w 69"/>
                <a:gd name="T21" fmla="*/ 44 h 90"/>
                <a:gd name="T22" fmla="*/ 0 w 69"/>
                <a:gd name="T23" fmla="*/ 54 h 90"/>
                <a:gd name="T24" fmla="*/ 3 w 69"/>
                <a:gd name="T25" fmla="*/ 62 h 90"/>
                <a:gd name="T26" fmla="*/ 6 w 69"/>
                <a:gd name="T27" fmla="*/ 69 h 90"/>
                <a:gd name="T28" fmla="*/ 9 w 69"/>
                <a:gd name="T29" fmla="*/ 76 h 90"/>
                <a:gd name="T30" fmla="*/ 15 w 69"/>
                <a:gd name="T31" fmla="*/ 82 h 90"/>
                <a:gd name="T32" fmla="*/ 20 w 69"/>
                <a:gd name="T33" fmla="*/ 85 h 90"/>
                <a:gd name="T34" fmla="*/ 28 w 69"/>
                <a:gd name="T35" fmla="*/ 88 h 90"/>
                <a:gd name="T36" fmla="*/ 34 w 69"/>
                <a:gd name="T37" fmla="*/ 90 h 90"/>
                <a:gd name="T38" fmla="*/ 34 w 69"/>
                <a:gd name="T39" fmla="*/ 90 h 90"/>
                <a:gd name="T40" fmla="*/ 41 w 69"/>
                <a:gd name="T41" fmla="*/ 88 h 90"/>
                <a:gd name="T42" fmla="*/ 49 w 69"/>
                <a:gd name="T43" fmla="*/ 85 h 90"/>
                <a:gd name="T44" fmla="*/ 53 w 69"/>
                <a:gd name="T45" fmla="*/ 82 h 90"/>
                <a:gd name="T46" fmla="*/ 60 w 69"/>
                <a:gd name="T47" fmla="*/ 76 h 90"/>
                <a:gd name="T48" fmla="*/ 63 w 69"/>
                <a:gd name="T49" fmla="*/ 69 h 90"/>
                <a:gd name="T50" fmla="*/ 66 w 69"/>
                <a:gd name="T51" fmla="*/ 62 h 90"/>
                <a:gd name="T52" fmla="*/ 69 w 69"/>
                <a:gd name="T53" fmla="*/ 54 h 90"/>
                <a:gd name="T54" fmla="*/ 69 w 69"/>
                <a:gd name="T55" fmla="*/ 44 h 90"/>
                <a:gd name="T56" fmla="*/ 69 w 69"/>
                <a:gd name="T57" fmla="*/ 44 h 90"/>
                <a:gd name="T58" fmla="*/ 69 w 69"/>
                <a:gd name="T59" fmla="*/ 36 h 90"/>
                <a:gd name="T60" fmla="*/ 66 w 69"/>
                <a:gd name="T61" fmla="*/ 27 h 90"/>
                <a:gd name="T62" fmla="*/ 63 w 69"/>
                <a:gd name="T63" fmla="*/ 19 h 90"/>
                <a:gd name="T64" fmla="*/ 60 w 69"/>
                <a:gd name="T65" fmla="*/ 13 h 90"/>
                <a:gd name="T66" fmla="*/ 53 w 69"/>
                <a:gd name="T67" fmla="*/ 8 h 90"/>
                <a:gd name="T68" fmla="*/ 49 w 69"/>
                <a:gd name="T69" fmla="*/ 3 h 90"/>
                <a:gd name="T70" fmla="*/ 41 w 69"/>
                <a:gd name="T71" fmla="*/ 0 h 90"/>
                <a:gd name="T72" fmla="*/ 34 w 69"/>
                <a:gd name="T73" fmla="*/ 0 h 90"/>
                <a:gd name="T74" fmla="*/ 34 w 69"/>
                <a:gd name="T75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9" h="90">
                  <a:moveTo>
                    <a:pt x="34" y="0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3"/>
                  </a:lnTo>
                  <a:lnTo>
                    <a:pt x="15" y="8"/>
                  </a:lnTo>
                  <a:lnTo>
                    <a:pt x="9" y="13"/>
                  </a:lnTo>
                  <a:lnTo>
                    <a:pt x="6" y="19"/>
                  </a:lnTo>
                  <a:lnTo>
                    <a:pt x="3" y="27"/>
                  </a:lnTo>
                  <a:lnTo>
                    <a:pt x="0" y="36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54"/>
                  </a:lnTo>
                  <a:lnTo>
                    <a:pt x="3" y="62"/>
                  </a:lnTo>
                  <a:lnTo>
                    <a:pt x="6" y="69"/>
                  </a:lnTo>
                  <a:lnTo>
                    <a:pt x="9" y="76"/>
                  </a:lnTo>
                  <a:lnTo>
                    <a:pt x="15" y="82"/>
                  </a:lnTo>
                  <a:lnTo>
                    <a:pt x="20" y="85"/>
                  </a:lnTo>
                  <a:lnTo>
                    <a:pt x="28" y="88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41" y="88"/>
                  </a:lnTo>
                  <a:lnTo>
                    <a:pt x="49" y="85"/>
                  </a:lnTo>
                  <a:lnTo>
                    <a:pt x="53" y="82"/>
                  </a:lnTo>
                  <a:lnTo>
                    <a:pt x="60" y="76"/>
                  </a:lnTo>
                  <a:lnTo>
                    <a:pt x="63" y="69"/>
                  </a:lnTo>
                  <a:lnTo>
                    <a:pt x="66" y="62"/>
                  </a:lnTo>
                  <a:lnTo>
                    <a:pt x="69" y="5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36"/>
                  </a:lnTo>
                  <a:lnTo>
                    <a:pt x="66" y="27"/>
                  </a:lnTo>
                  <a:lnTo>
                    <a:pt x="63" y="19"/>
                  </a:lnTo>
                  <a:lnTo>
                    <a:pt x="60" y="13"/>
                  </a:lnTo>
                  <a:lnTo>
                    <a:pt x="53" y="8"/>
                  </a:lnTo>
                  <a:lnTo>
                    <a:pt x="49" y="3"/>
                  </a:lnTo>
                  <a:lnTo>
                    <a:pt x="41" y="0"/>
                  </a:lnTo>
                  <a:lnTo>
                    <a:pt x="34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</p:grpSp>
      <p:sp>
        <p:nvSpPr>
          <p:cNvPr id="23" name="Rechteck 22">
            <a:extLst>
              <a:ext uri="{FF2B5EF4-FFF2-40B4-BE49-F238E27FC236}">
                <a16:creationId xmlns:a16="http://schemas.microsoft.com/office/drawing/2014/main" id="{D1338B18-81A2-FF57-801D-FA5A76678A00}"/>
              </a:ext>
            </a:extLst>
          </p:cNvPr>
          <p:cNvSpPr/>
          <p:nvPr/>
        </p:nvSpPr>
        <p:spPr>
          <a:xfrm>
            <a:off x="6742" y="0"/>
            <a:ext cx="284137" cy="46170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24" name="Oval 25">
            <a:extLst>
              <a:ext uri="{FF2B5EF4-FFF2-40B4-BE49-F238E27FC236}">
                <a16:creationId xmlns:a16="http://schemas.microsoft.com/office/drawing/2014/main" id="{3E5B6FB0-6C8E-5752-96F1-3B5AA9ED80B5}"/>
              </a:ext>
            </a:extLst>
          </p:cNvPr>
          <p:cNvSpPr/>
          <p:nvPr/>
        </p:nvSpPr>
        <p:spPr>
          <a:xfrm>
            <a:off x="992678" y="1465303"/>
            <a:ext cx="462669" cy="468776"/>
          </a:xfrm>
          <a:prstGeom prst="ellipse">
            <a:avLst/>
          </a:prstGeom>
          <a:solidFill>
            <a:srgbClr val="002C5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Oval 25">
            <a:extLst>
              <a:ext uri="{FF2B5EF4-FFF2-40B4-BE49-F238E27FC236}">
                <a16:creationId xmlns:a16="http://schemas.microsoft.com/office/drawing/2014/main" id="{7A08AF6E-387F-1E80-8A54-DED3A7406155}"/>
              </a:ext>
            </a:extLst>
          </p:cNvPr>
          <p:cNvSpPr/>
          <p:nvPr/>
        </p:nvSpPr>
        <p:spPr>
          <a:xfrm>
            <a:off x="757334" y="952814"/>
            <a:ext cx="462669" cy="468776"/>
          </a:xfrm>
          <a:prstGeom prst="ellipse">
            <a:avLst/>
          </a:prstGeom>
          <a:solidFill>
            <a:srgbClr val="002C5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6" name="Grafik 25" descr="Internet mit einfarbiger Füllung">
            <a:extLst>
              <a:ext uri="{FF2B5EF4-FFF2-40B4-BE49-F238E27FC236}">
                <a16:creationId xmlns:a16="http://schemas.microsoft.com/office/drawing/2014/main" id="{086923DB-F726-C808-4DD0-001720F5F56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14471" y="1015751"/>
            <a:ext cx="342900" cy="342900"/>
          </a:xfrm>
          <a:prstGeom prst="rect">
            <a:avLst/>
          </a:prstGeom>
        </p:spPr>
      </p:pic>
      <p:pic>
        <p:nvPicPr>
          <p:cNvPr id="27" name="Grafik 26" descr="Synchronisierende Cloud mit einfarbiger Füllung">
            <a:extLst>
              <a:ext uri="{FF2B5EF4-FFF2-40B4-BE49-F238E27FC236}">
                <a16:creationId xmlns:a16="http://schemas.microsoft.com/office/drawing/2014/main" id="{2E6E8B24-94EC-3E39-7393-6CF6EE5F548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93948" y="2055036"/>
            <a:ext cx="342900" cy="342900"/>
          </a:xfrm>
          <a:prstGeom prst="rect">
            <a:avLst/>
          </a:prstGeom>
        </p:spPr>
      </p:pic>
      <p:pic>
        <p:nvPicPr>
          <p:cNvPr id="28" name="Grafik 27" descr="Übertragen mit einfarbiger Füllung">
            <a:extLst>
              <a:ext uri="{FF2B5EF4-FFF2-40B4-BE49-F238E27FC236}">
                <a16:creationId xmlns:a16="http://schemas.microsoft.com/office/drawing/2014/main" id="{14F756F6-D4F5-F846-CCC5-D42AD10A3BC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85770" y="4176629"/>
            <a:ext cx="342900" cy="342900"/>
          </a:xfrm>
          <a:prstGeom prst="rect">
            <a:avLst/>
          </a:prstGeom>
        </p:spPr>
      </p:pic>
      <p:pic>
        <p:nvPicPr>
          <p:cNvPr id="29" name="Grafik 28" descr="Präsentation mit Checkliste mit einfarbiger Füllung">
            <a:extLst>
              <a:ext uri="{FF2B5EF4-FFF2-40B4-BE49-F238E27FC236}">
                <a16:creationId xmlns:a16="http://schemas.microsoft.com/office/drawing/2014/main" id="{E5F00513-A365-B8AB-A8D0-2453F8A5C78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64977" y="3178070"/>
            <a:ext cx="342900" cy="342900"/>
          </a:xfrm>
          <a:prstGeom prst="rect">
            <a:avLst/>
          </a:prstGeom>
        </p:spPr>
      </p:pic>
      <p:pic>
        <p:nvPicPr>
          <p:cNvPr id="30" name="Grafik 29" descr="Lehrer mit einfarbiger Füllung">
            <a:extLst>
              <a:ext uri="{FF2B5EF4-FFF2-40B4-BE49-F238E27FC236}">
                <a16:creationId xmlns:a16="http://schemas.microsoft.com/office/drawing/2014/main" id="{FFE085C4-AB88-03A9-2B56-784F3015B81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28360" y="3680967"/>
            <a:ext cx="342900" cy="342900"/>
          </a:xfrm>
          <a:prstGeom prst="rect">
            <a:avLst/>
          </a:prstGeom>
        </p:spPr>
      </p:pic>
      <p:pic>
        <p:nvPicPr>
          <p:cNvPr id="31" name="Grafik 30" descr="Platte mit einfarbiger Füllung">
            <a:extLst>
              <a:ext uri="{FF2B5EF4-FFF2-40B4-BE49-F238E27FC236}">
                <a16:creationId xmlns:a16="http://schemas.microsoft.com/office/drawing/2014/main" id="{D5C30728-8661-4B62-8E9B-6281D47DCE4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224013" y="2628464"/>
            <a:ext cx="342900" cy="342900"/>
          </a:xfrm>
          <a:prstGeom prst="rect">
            <a:avLst/>
          </a:prstGeom>
        </p:spPr>
      </p:pic>
      <p:pic>
        <p:nvPicPr>
          <p:cNvPr id="32" name="Grafik 31" descr="Geschäftswachstum mit einfarbiger Füllung">
            <a:extLst>
              <a:ext uri="{FF2B5EF4-FFF2-40B4-BE49-F238E27FC236}">
                <a16:creationId xmlns:a16="http://schemas.microsoft.com/office/drawing/2014/main" id="{FA54FF8B-6797-223E-0C45-0E9A74EF1C1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75670" y="1528823"/>
            <a:ext cx="342900" cy="342900"/>
          </a:xfrm>
          <a:prstGeom prst="rect">
            <a:avLst/>
          </a:prstGeom>
        </p:spPr>
      </p:pic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936D8F67-DD2A-4334-4473-C12E70B04A32}"/>
              </a:ext>
            </a:extLst>
          </p:cNvPr>
          <p:cNvSpPr txBox="1">
            <a:spLocks/>
          </p:cNvSpPr>
          <p:nvPr/>
        </p:nvSpPr>
        <p:spPr>
          <a:xfrm>
            <a:off x="1783726" y="1515372"/>
            <a:ext cx="8351006" cy="4459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60000" indent="-36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179388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6938" indent="-179388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13" indent="-179388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00" indent="-17780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575"/>
              <a:t>Einmalige, unternehmensübergreifende Erfassung ihrer Daten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37B5E492-735F-10F0-A2B5-F3ED472F9802}"/>
              </a:ext>
            </a:extLst>
          </p:cNvPr>
          <p:cNvSpPr txBox="1">
            <a:spLocks/>
          </p:cNvSpPr>
          <p:nvPr/>
        </p:nvSpPr>
        <p:spPr>
          <a:xfrm>
            <a:off x="1865506" y="2052202"/>
            <a:ext cx="8351006" cy="52392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60000" indent="-36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179388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6938" indent="-179388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13" indent="-179388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00" indent="-17780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575"/>
              <a:t>Einsparung von Zeit und Aufwand bei Teilnahme an Ausschreibungen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F5C56528-C61E-25E0-6DAC-B2DA06450288}"/>
              </a:ext>
            </a:extLst>
          </p:cNvPr>
          <p:cNvSpPr txBox="1">
            <a:spLocks/>
          </p:cNvSpPr>
          <p:nvPr/>
        </p:nvSpPr>
        <p:spPr>
          <a:xfrm>
            <a:off x="1951032" y="2662584"/>
            <a:ext cx="8351006" cy="6514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60000" indent="-36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179388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6938" indent="-179388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13" indent="-179388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00" indent="-17780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575"/>
              <a:t>Schnellerer </a:t>
            </a:r>
            <a:r>
              <a:rPr lang="de-DE" sz="1575" err="1"/>
              <a:t>Onboardingprozess</a:t>
            </a:r>
            <a:endParaRPr lang="de-DE" sz="1575"/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4F242683-0F16-57B7-FB61-0F8497879A1E}"/>
              </a:ext>
            </a:extLst>
          </p:cNvPr>
          <p:cNvSpPr txBox="1">
            <a:spLocks/>
          </p:cNvSpPr>
          <p:nvPr/>
        </p:nvSpPr>
        <p:spPr>
          <a:xfrm>
            <a:off x="1557495" y="4170044"/>
            <a:ext cx="8351006" cy="54321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60000" indent="-36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179388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6938" indent="-179388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13" indent="-179388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00" indent="-17780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575"/>
              <a:t>Plattform für konstruktiven Austausch und kontinuierliche Verbesserung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6FB7D9D8-FE71-AEF7-5ACD-49F79A0E8526}"/>
              </a:ext>
            </a:extLst>
          </p:cNvPr>
          <p:cNvSpPr txBox="1">
            <a:spLocks/>
          </p:cNvSpPr>
          <p:nvPr/>
        </p:nvSpPr>
        <p:spPr>
          <a:xfrm>
            <a:off x="1775557" y="3676302"/>
            <a:ext cx="8351006" cy="4844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60000" indent="-36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179388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6938" indent="-179388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13" indent="-179388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00" indent="-17780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575"/>
              <a:t>Möglichkeit, Ihr Produkt- und Leistungsportfolio zu präsentieren</a:t>
            </a: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C8666433-6145-731B-D86E-5B614BEDB674}"/>
              </a:ext>
            </a:extLst>
          </p:cNvPr>
          <p:cNvSpPr txBox="1">
            <a:spLocks/>
          </p:cNvSpPr>
          <p:nvPr/>
        </p:nvSpPr>
        <p:spPr>
          <a:xfrm>
            <a:off x="1911349" y="3166769"/>
            <a:ext cx="8351006" cy="340637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60000" indent="-36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179388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6938" indent="-179388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13" indent="-179388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00" indent="-17780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575"/>
              <a:t>Vereinfachte und zentrale Datenpflege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E3E8FB9-026E-3F48-A1B3-FE104F51C71C}"/>
              </a:ext>
            </a:extLst>
          </p:cNvPr>
          <p:cNvSpPr txBox="1">
            <a:spLocks/>
          </p:cNvSpPr>
          <p:nvPr/>
        </p:nvSpPr>
        <p:spPr bwMode="gray">
          <a:xfrm>
            <a:off x="1103141" y="4933989"/>
            <a:ext cx="3063342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D9607335-8BDB-4D50-A1E6-11B757708170}" type="slidenum">
              <a:rPr lang="de-DE" smtClean="0"/>
              <a:pPr>
                <a:defRPr/>
              </a:pPr>
              <a:t>8</a:t>
            </a:fld>
            <a:r>
              <a:rPr lang="de-DE"/>
              <a:t> I Infoveranstaltung LIMA I 16.04.2025</a:t>
            </a:r>
          </a:p>
        </p:txBody>
      </p:sp>
    </p:spTree>
    <p:extLst>
      <p:ext uri="{BB962C8B-B14F-4D97-AF65-F5344CB8AC3E}">
        <p14:creationId xmlns:p14="http://schemas.microsoft.com/office/powerpoint/2010/main" val="592728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0142207C-B427-2449-1DAC-1D8E82E8DE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0702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42207C-B427-2449-1DAC-1D8E82E8DE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811996D8-15DD-64FA-0143-F8D18DD7947F}"/>
              </a:ext>
            </a:extLst>
          </p:cNvPr>
          <p:cNvSpPr/>
          <p:nvPr/>
        </p:nvSpPr>
        <p:spPr>
          <a:xfrm>
            <a:off x="4537075" y="0"/>
            <a:ext cx="4673600" cy="47815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0000" indent="-270000" algn="ctr">
              <a:spcBef>
                <a:spcPts val="400"/>
              </a:spcBef>
              <a:buClr>
                <a:schemeClr val="bg1"/>
              </a:buClr>
              <a:buSzPct val="150000"/>
              <a:buFont typeface="Arial" pitchFamily="34" charset="0"/>
              <a:buChar char="•"/>
            </a:pPr>
            <a:endParaRPr lang="de-DE" err="1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C474AC1-91D4-9A14-C67E-76ADD281CC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276999"/>
          </a:xfrm>
        </p:spPr>
        <p:txBody>
          <a:bodyPr vert="horz"/>
          <a:lstStyle/>
          <a:p>
            <a:r>
              <a:rPr lang="de-DE" sz="2000" b="1"/>
              <a:t>Support und Hilfestellung</a:t>
            </a:r>
          </a:p>
        </p:txBody>
      </p:sp>
      <p:sp>
        <p:nvSpPr>
          <p:cNvPr id="6" name="AutoShape 3" descr="Callcenter mit einfarbiger Füllung">
            <a:extLst>
              <a:ext uri="{FF2B5EF4-FFF2-40B4-BE49-F238E27FC236}">
                <a16:creationId xmlns:a16="http://schemas.microsoft.com/office/drawing/2014/main" id="{E682D60A-308C-65F7-8305-2C41F8D0997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537075" y="-37115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" name="AutoShape 4" descr="Fragen mit einfarbiger Füllung">
            <a:extLst>
              <a:ext uri="{FF2B5EF4-FFF2-40B4-BE49-F238E27FC236}">
                <a16:creationId xmlns:a16="http://schemas.microsoft.com/office/drawing/2014/main" id="{B3D27093-108A-17E3-1327-8B48508EE35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997450" y="-37115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8" name="AutoShape 5" descr="Präsentation mit Medien mit einfarbiger Füllung">
            <a:extLst>
              <a:ext uri="{FF2B5EF4-FFF2-40B4-BE49-F238E27FC236}">
                <a16:creationId xmlns:a16="http://schemas.microsoft.com/office/drawing/2014/main" id="{EB696CD8-8E80-1014-4C01-A448E0688B6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457825" y="-37115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319B68B-21FC-5A2D-3C4A-FA1E33E8B4BE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893" t="8250" r="1003" b="1548"/>
          <a:stretch/>
        </p:blipFill>
        <p:spPr>
          <a:xfrm>
            <a:off x="4741386" y="3099766"/>
            <a:ext cx="2913083" cy="152379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B60D2A7E-529C-D5EC-45D0-92D8FD41217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83523" y="1495326"/>
            <a:ext cx="1495970" cy="3155137"/>
          </a:xfrm>
          <a:prstGeom prst="rect">
            <a:avLst/>
          </a:prstGeom>
          <a:noFill/>
          <a:ln w="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  <p:pic>
        <p:nvPicPr>
          <p:cNvPr id="18" name="Grafik 17" descr="Fragen mit einfarbiger Füllung">
            <a:extLst>
              <a:ext uri="{FF2B5EF4-FFF2-40B4-BE49-F238E27FC236}">
                <a16:creationId xmlns:a16="http://schemas.microsoft.com/office/drawing/2014/main" id="{D21CFCA4-4045-F5F3-E7F4-9BD9201BEF1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97423" y="833278"/>
            <a:ext cx="432815" cy="432815"/>
          </a:xfrm>
          <a:prstGeom prst="rect">
            <a:avLst/>
          </a:prstGeom>
        </p:spPr>
      </p:pic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0F4DDCCE-B510-EE00-2101-53D46992121C}"/>
              </a:ext>
            </a:extLst>
          </p:cNvPr>
          <p:cNvSpPr txBox="1">
            <a:spLocks/>
          </p:cNvSpPr>
          <p:nvPr/>
        </p:nvSpPr>
        <p:spPr>
          <a:xfrm>
            <a:off x="4777186" y="285659"/>
            <a:ext cx="2837856" cy="2365525"/>
          </a:xfrm>
          <a:prstGeom prst="rect">
            <a:avLst/>
          </a:prstGeom>
        </p:spPr>
        <p:txBody>
          <a:bodyPr vert="horz" lIns="0" tIns="0" rIns="0" bIns="0" rtlCol="0">
            <a:normAutofit fontScale="85000" lnSpcReduction="20000"/>
          </a:bodyPr>
          <a:lstStyle>
            <a:lvl1pPr marL="360000" indent="-36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179388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6938" indent="-179388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13" indent="-179388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00" indent="-17780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575" b="1">
                <a:solidFill>
                  <a:schemeClr val="bg1"/>
                </a:solidFill>
              </a:rPr>
              <a:t>Unterstützende Medien</a:t>
            </a:r>
          </a:p>
          <a:p>
            <a:pPr marL="0" indent="0" algn="just">
              <a:buNone/>
            </a:pPr>
            <a:r>
              <a:rPr lang="de-DE" sz="1300">
                <a:solidFill>
                  <a:schemeClr val="bg1"/>
                </a:solidFill>
              </a:rPr>
              <a:t>Benötigen Sie Unterstützung beim Ausfüllen Ihrer Angaben oder möchten weitere Informationen zum Thema Beschaffung und LIMA? </a:t>
            </a:r>
          </a:p>
          <a:p>
            <a:pPr marL="0" indent="0" algn="just">
              <a:buNone/>
            </a:pPr>
            <a:r>
              <a:rPr lang="de-DE" sz="1300">
                <a:solidFill>
                  <a:schemeClr val="bg1"/>
                </a:solidFill>
              </a:rPr>
              <a:t>Dann klicken Sie auf unser Anleitungsvideo, den digitalen Flyer oder besuchen Sie unsere Internetseiten:</a:t>
            </a:r>
          </a:p>
          <a:p>
            <a:pPr marL="895713" lvl="3" indent="0" algn="just">
              <a:buNone/>
            </a:pPr>
            <a:r>
              <a:rPr lang="de-DE" sz="1400">
                <a:solidFill>
                  <a:schemeClr val="bg1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nW</a:t>
            </a:r>
            <a:r>
              <a:rPr lang="de-DE" sz="1400">
                <a:solidFill>
                  <a:schemeClr val="bg1"/>
                </a:solidFill>
              </a:rPr>
              <a:t>  | </a:t>
            </a:r>
            <a:r>
              <a:rPr lang="de-DE" sz="1400">
                <a:solidFill>
                  <a:schemeClr val="bg1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PA</a:t>
            </a:r>
            <a:r>
              <a:rPr lang="de-DE" sz="1400">
                <a:solidFill>
                  <a:schemeClr val="bg1"/>
                </a:solidFill>
              </a:rPr>
              <a:t>  |  </a:t>
            </a:r>
            <a:r>
              <a:rPr lang="de-DE" sz="1400">
                <a:solidFill>
                  <a:schemeClr val="bg1"/>
                </a:solidFill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NE</a:t>
            </a:r>
            <a:endParaRPr lang="de-DE" sz="1400" b="1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de-DE" sz="1575">
              <a:solidFill>
                <a:schemeClr val="bg1"/>
              </a:solidFill>
            </a:endParaRPr>
          </a:p>
        </p:txBody>
      </p:sp>
      <p:sp>
        <p:nvSpPr>
          <p:cNvPr id="15" name="Foliennummernplatzhalter 4">
            <a:extLst>
              <a:ext uri="{FF2B5EF4-FFF2-40B4-BE49-F238E27FC236}">
                <a16:creationId xmlns:a16="http://schemas.microsoft.com/office/drawing/2014/main" id="{340AFD7A-C6AF-7342-1C97-B6473A8D3A15}"/>
              </a:ext>
            </a:extLst>
          </p:cNvPr>
          <p:cNvSpPr txBox="1">
            <a:spLocks/>
          </p:cNvSpPr>
          <p:nvPr/>
        </p:nvSpPr>
        <p:spPr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>
              <a:defRPr sz="800">
                <a:solidFill>
                  <a:schemeClr val="bg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63C361D-6D9E-4F98-8831-48736655B334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20" name="Grafik 19" descr="Präsentation mit Medien mit einfarbiger Füllung">
            <a:extLst>
              <a:ext uri="{FF2B5EF4-FFF2-40B4-BE49-F238E27FC236}">
                <a16:creationId xmlns:a16="http://schemas.microsoft.com/office/drawing/2014/main" id="{731DAD6C-1315-9403-E43E-D99DAA6CA66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777186" y="2795398"/>
            <a:ext cx="252519" cy="252519"/>
          </a:xfrm>
          <a:prstGeom prst="rect">
            <a:avLst/>
          </a:prstGeom>
        </p:spPr>
      </p:pic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46B1A22E-7318-9911-3AEA-329935F6F1B7}"/>
              </a:ext>
            </a:extLst>
          </p:cNvPr>
          <p:cNvSpPr txBox="1">
            <a:spLocks/>
          </p:cNvSpPr>
          <p:nvPr/>
        </p:nvSpPr>
        <p:spPr>
          <a:xfrm>
            <a:off x="5027391" y="2803115"/>
            <a:ext cx="1077747" cy="25251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60000" indent="-36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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179388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6938" indent="-179388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13" indent="-179388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00" indent="-177800" algn="l" defTabSz="914400" rtl="0" eaLnBrk="1" latinLnBrk="0" hangingPunct="1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Aft>
                <a:spcPts val="0"/>
              </a:spcAft>
              <a:buFont typeface="Wingdings" panose="05000000000000000000" pitchFamily="2" charset="2"/>
              <a:buNone/>
            </a:pPr>
            <a:r>
              <a:rPr lang="de-DE" sz="1200">
                <a:solidFill>
                  <a:schemeClr val="bg1"/>
                </a:solidFill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lickanleitung</a:t>
            </a:r>
            <a:endParaRPr lang="de-DE" sz="1200">
              <a:solidFill>
                <a:schemeClr val="bg1"/>
              </a:solidFill>
            </a:endParaRPr>
          </a:p>
        </p:txBody>
      </p:sp>
      <p:pic>
        <p:nvPicPr>
          <p:cNvPr id="23" name="Grafik 22" descr="Papier Silhouette">
            <a:extLst>
              <a:ext uri="{FF2B5EF4-FFF2-40B4-BE49-F238E27FC236}">
                <a16:creationId xmlns:a16="http://schemas.microsoft.com/office/drawing/2014/main" id="{C15A5099-8F65-A24F-FCC7-13C2C31E15E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770640" y="1093757"/>
            <a:ext cx="292800" cy="300474"/>
          </a:xfrm>
          <a:prstGeom prst="rect">
            <a:avLst/>
          </a:prstGeom>
        </p:spPr>
      </p:pic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AA7E53C3-6735-8C05-BCD1-88C7B873D99C}"/>
              </a:ext>
            </a:extLst>
          </p:cNvPr>
          <p:cNvSpPr txBox="1">
            <a:spLocks/>
          </p:cNvSpPr>
          <p:nvPr/>
        </p:nvSpPr>
        <p:spPr>
          <a:xfrm>
            <a:off x="7741352" y="1168282"/>
            <a:ext cx="1050223" cy="25251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defPPr>
              <a:defRPr lang="de-DE"/>
            </a:defPPr>
            <a:lvl1pPr indent="0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200">
                <a:solidFill>
                  <a:schemeClr val="bg1"/>
                </a:solidFill>
              </a:defRPr>
            </a:lvl1pPr>
            <a:lvl2pPr marL="538163" indent="-179388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lvl2pPr>
            <a:lvl3pPr marL="896938" indent="-179388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lvl3pPr>
            <a:lvl4pPr marL="1255713" indent="-179388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lvl4pPr>
            <a:lvl5pPr marL="1612900" indent="-177800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u="sng"/>
              <a:t>Flyer</a:t>
            </a:r>
          </a:p>
        </p:txBody>
      </p:sp>
      <p:pic>
        <p:nvPicPr>
          <p:cNvPr id="26" name="Grafik 25" descr="Internet Silhouette">
            <a:extLst>
              <a:ext uri="{FF2B5EF4-FFF2-40B4-BE49-F238E27FC236}">
                <a16:creationId xmlns:a16="http://schemas.microsoft.com/office/drawing/2014/main" id="{8D8BF4BB-0A78-DD3F-D38C-D879C4E8C7A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887889" y="2107475"/>
            <a:ext cx="523922" cy="523922"/>
          </a:xfrm>
          <a:prstGeom prst="rect">
            <a:avLst/>
          </a:prstGeom>
        </p:spPr>
      </p:pic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F594BC23-A6D1-8794-FD70-4CD10DC81EF1}"/>
              </a:ext>
            </a:extLst>
          </p:cNvPr>
          <p:cNvSpPr txBox="1">
            <a:spLocks/>
          </p:cNvSpPr>
          <p:nvPr/>
        </p:nvSpPr>
        <p:spPr>
          <a:xfrm>
            <a:off x="338540" y="1266093"/>
            <a:ext cx="3470006" cy="356128"/>
          </a:xfrm>
          <a:prstGeom prst="rect">
            <a:avLst/>
          </a:prstGeom>
        </p:spPr>
        <p:txBody>
          <a:bodyPr vert="horz" lIns="0" tIns="0" rIns="0" bIns="0" rtlCol="0">
            <a:normAutofit fontScale="92500"/>
          </a:bodyPr>
          <a:lstStyle>
            <a:defPPr>
              <a:defRPr lang="de-DE"/>
            </a:defPPr>
            <a:lvl1pPr indent="0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575"/>
            </a:lvl1pPr>
            <a:lvl2pPr marL="538163" indent="-179388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lvl2pPr>
            <a:lvl3pPr marL="896938" indent="-179388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lvl3pPr>
            <a:lvl4pPr marL="1255713" indent="-179388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lvl4pPr>
            <a:lvl5pPr marL="1612900" indent="-177800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b="1"/>
              <a:t>Sie benötigen Hilfe? Wir unterstützen!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0B591415-336E-EAFE-738E-E0B52ECD85C3}"/>
              </a:ext>
            </a:extLst>
          </p:cNvPr>
          <p:cNvSpPr txBox="1">
            <a:spLocks/>
          </p:cNvSpPr>
          <p:nvPr/>
        </p:nvSpPr>
        <p:spPr>
          <a:xfrm>
            <a:off x="338540" y="1727790"/>
            <a:ext cx="3470006" cy="3561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575"/>
            </a:lvl1pPr>
            <a:lvl2pPr marL="538163" indent="-179388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lvl2pPr>
            <a:lvl3pPr marL="896938" indent="-179388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lvl3pPr>
            <a:lvl4pPr marL="1255713" indent="-179388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lvl4pPr>
            <a:lvl5pPr marL="1612900" indent="-177800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sz="1200"/>
              <a:t>Bei Fragen wenden Sie sich an:</a:t>
            </a:r>
          </a:p>
          <a:p>
            <a:endParaRPr lang="de-DE" sz="1200"/>
          </a:p>
          <a:p>
            <a:endParaRPr lang="de-DE" sz="1200"/>
          </a:p>
          <a:p>
            <a:endParaRPr lang="de-DE" sz="1200"/>
          </a:p>
        </p:txBody>
      </p:sp>
      <p:pic>
        <p:nvPicPr>
          <p:cNvPr id="32" name="Grafik 31" descr="Receiver Silhouette">
            <a:extLst>
              <a:ext uri="{FF2B5EF4-FFF2-40B4-BE49-F238E27FC236}">
                <a16:creationId xmlns:a16="http://schemas.microsoft.com/office/drawing/2014/main" id="{4E6D6AC4-BC77-127A-CBFA-903390170EDA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38540" y="2103800"/>
            <a:ext cx="356128" cy="356128"/>
          </a:xfrm>
          <a:prstGeom prst="rect">
            <a:avLst/>
          </a:prstGeom>
        </p:spPr>
      </p:pic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1F6ED195-FF53-C26C-02E9-18731EA527B2}"/>
              </a:ext>
            </a:extLst>
          </p:cNvPr>
          <p:cNvSpPr txBox="1">
            <a:spLocks/>
          </p:cNvSpPr>
          <p:nvPr/>
        </p:nvSpPr>
        <p:spPr>
          <a:xfrm>
            <a:off x="803906" y="2065834"/>
            <a:ext cx="2653844" cy="5783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575"/>
            </a:lvl1pPr>
            <a:lvl2pPr marL="538163" indent="-179388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lvl2pPr>
            <a:lvl3pPr marL="896938" indent="-179388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lvl3pPr>
            <a:lvl4pPr marL="1255713" indent="-179388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lvl4pPr>
            <a:lvl5pPr marL="1612900" indent="-177800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sz="1200"/>
              <a:t>Hotline:                                                       +49 40 42847-7000</a:t>
            </a:r>
          </a:p>
          <a:p>
            <a:endParaRPr lang="de-DE" sz="1200"/>
          </a:p>
        </p:txBody>
      </p:sp>
      <p:pic>
        <p:nvPicPr>
          <p:cNvPr id="35" name="Grafik 34" descr="E-Mail Silhouette">
            <a:extLst>
              <a:ext uri="{FF2B5EF4-FFF2-40B4-BE49-F238E27FC236}">
                <a16:creationId xmlns:a16="http://schemas.microsoft.com/office/drawing/2014/main" id="{72291D97-0867-ADEF-33D5-28EEFF360E5D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97424" y="2644144"/>
            <a:ext cx="432815" cy="432815"/>
          </a:xfrm>
          <a:prstGeom prst="rect">
            <a:avLst/>
          </a:prstGeom>
        </p:spPr>
      </p:pic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B9045909-4C0E-C812-D7E2-5002F189E135}"/>
              </a:ext>
            </a:extLst>
          </p:cNvPr>
          <p:cNvSpPr txBox="1">
            <a:spLocks/>
          </p:cNvSpPr>
          <p:nvPr/>
        </p:nvSpPr>
        <p:spPr>
          <a:xfrm>
            <a:off x="803905" y="2651184"/>
            <a:ext cx="3394323" cy="5783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None/>
              <a:defRPr sz="1575"/>
            </a:lvl1pPr>
            <a:lvl2pPr marL="538163" indent="-179388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lvl2pPr>
            <a:lvl3pPr marL="896938" indent="-179388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lvl3pPr>
            <a:lvl4pPr marL="1255713" indent="-179388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lvl4pPr>
            <a:lvl5pPr marL="1612900" indent="-177800">
              <a:lnSpc>
                <a:spcPts val="1400"/>
              </a:lnSpc>
              <a:spcBef>
                <a:spcPts val="0"/>
              </a:spcBef>
              <a:spcAft>
                <a:spcPts val="1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sz="1200"/>
              <a:t>E-Mail:                                                       Lieferantenmanagement@LIMA.synertrade.com</a:t>
            </a:r>
          </a:p>
        </p:txBody>
      </p:sp>
      <p:sp>
        <p:nvSpPr>
          <p:cNvPr id="37" name="Foliennummernplatzhalter 1">
            <a:extLst>
              <a:ext uri="{FF2B5EF4-FFF2-40B4-BE49-F238E27FC236}">
                <a16:creationId xmlns:a16="http://schemas.microsoft.com/office/drawing/2014/main" id="{7E1F3345-BDD6-B92D-D238-F6A84326887A}"/>
              </a:ext>
            </a:extLst>
          </p:cNvPr>
          <p:cNvSpPr txBox="1">
            <a:spLocks/>
          </p:cNvSpPr>
          <p:nvPr/>
        </p:nvSpPr>
        <p:spPr bwMode="gray">
          <a:xfrm>
            <a:off x="1103141" y="4933989"/>
            <a:ext cx="3063342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D9607335-8BDB-4D50-A1E6-11B757708170}" type="slidenum">
              <a:rPr lang="de-DE" smtClean="0"/>
              <a:pPr>
                <a:defRPr/>
              </a:pPr>
              <a:t>9</a:t>
            </a:fld>
            <a:r>
              <a:rPr lang="de-DE"/>
              <a:t> I Infoveranstaltung LIMA I 16.04.2025</a:t>
            </a:r>
          </a:p>
        </p:txBody>
      </p:sp>
    </p:spTree>
    <p:extLst>
      <p:ext uri="{BB962C8B-B14F-4D97-AF65-F5344CB8AC3E}">
        <p14:creationId xmlns:p14="http://schemas.microsoft.com/office/powerpoint/2010/main" val="13814297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58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6&quot;&gt;&lt;elem m_fUsage=&quot;5.00232075450390123450E+00&quot;&gt;&lt;m_msothmcolidx val=&quot;0&quot;/&gt;&lt;m_rgb r=&quot;E7&quot; g=&quot;93&quot; b=&quot;32&quot;/&gt;&lt;/elem&gt;&lt;elem m_fUsage=&quot;2.70999999999999996447E+00&quot;&gt;&lt;m_msothmcolidx val=&quot;0&quot;/&gt;&lt;m_rgb r=&quot;E6&quot; g=&quot;61&quot; b=&quot;00&quot;/&gt;&lt;/elem&gt;&lt;elem m_fUsage=&quot;2.28767924549610118801E-01&quot;&gt;&lt;m_msothmcolidx val=&quot;0&quot;/&gt;&lt;m_rgb r=&quot;F5&quot; g=&quot;B5&quot; b=&quot;6F&quot;/&gt;&lt;/elem&gt;&lt;elem m_fUsage=&quot;2.05891132094649098594E-01&quot;&gt;&lt;m_msothmcolidx val=&quot;0&quot;/&gt;&lt;m_rgb r=&quot;FB&quot; g=&quot;B8&quot; b=&quot;65&quot;/&gt;&lt;/elem&gt;&lt;elem m_fUsage=&quot;1.85302018885184188735E-01&quot;&gt;&lt;m_msothmcolidx val=&quot;0&quot;/&gt;&lt;m_rgb r=&quot;83&quot; g=&quot;84&quot; b=&quot;84&quot;/&gt;&lt;/elem&gt;&lt;elem m_fUsage=&quot;1.66771816996665767086E-01&quot;&gt;&lt;m_msothmcolidx val=&quot;0&quot;/&gt;&lt;m_rgb r=&quot;00&quot; g=&quot;2C&quot; b=&quot;57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5LKyNmRHGM.Ah.MbrGa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amburg Premium 16:9">
  <a:themeElements>
    <a:clrScheme name="Hamburg Marketing New">
      <a:dk1>
        <a:sysClr val="windowText" lastClr="000000"/>
      </a:dk1>
      <a:lt1>
        <a:sysClr val="window" lastClr="FFFFFF"/>
      </a:lt1>
      <a:dk2>
        <a:srgbClr val="40648A"/>
      </a:dk2>
      <a:lt2>
        <a:srgbClr val="E3E3E3"/>
      </a:lt2>
      <a:accent1>
        <a:srgbClr val="003063"/>
      </a:accent1>
      <a:accent2>
        <a:srgbClr val="BFD6E9"/>
      </a:accent2>
      <a:accent3>
        <a:srgbClr val="005CA9"/>
      </a:accent3>
      <a:accent4>
        <a:srgbClr val="4B4B4B"/>
      </a:accent4>
      <a:accent5>
        <a:srgbClr val="818181"/>
      </a:accent5>
      <a:accent6>
        <a:srgbClr val="B9B9B9"/>
      </a:accent6>
      <a:hlink>
        <a:srgbClr val="003063"/>
      </a:hlink>
      <a:folHlink>
        <a:srgbClr val="E10019"/>
      </a:folHlink>
    </a:clrScheme>
    <a:fontScheme name="Umzugsauk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marL="270000" indent="-270000" algn="ctr">
          <a:spcBef>
            <a:spcPts val="400"/>
          </a:spcBef>
          <a:buClr>
            <a:schemeClr val="bg1"/>
          </a:buClr>
          <a:buSzPct val="150000"/>
          <a:buFont typeface="Arial" pitchFamily="34" charset="0"/>
          <a:buChar char="•"/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marL="270000" indent="-270000">
          <a:spcBef>
            <a:spcPts val="400"/>
          </a:spcBef>
          <a:buClr>
            <a:schemeClr val="accent1"/>
          </a:buClr>
          <a:buSzPct val="150000"/>
          <a:buFont typeface="Arial" pitchFamily="34" charset="0"/>
          <a:buChar char="•"/>
          <a:defRPr sz="1600" dirty="0" err="1" smtClean="0"/>
        </a:defPPr>
      </a:lstStyle>
    </a:txDef>
  </a:objectDefaults>
  <a:extraClrSchemeLst/>
  <a:custClrLst>
    <a:custClr>
      <a:srgbClr val="7F97CB"/>
    </a:custClr>
    <a:custClr>
      <a:srgbClr val="BFCBD8"/>
    </a:custClr>
    <a:custClr>
      <a:srgbClr val="4085BF"/>
    </a:custClr>
    <a:custClr>
      <a:srgbClr val="7FADD4"/>
    </a:custClr>
    <a:custClr>
      <a:srgbClr val="E10019"/>
    </a:custClr>
  </a:custClrLst>
  <a:extLst>
    <a:ext uri="{05A4C25C-085E-4340-85A3-A5531E510DB2}">
      <thm15:themeFamily xmlns:thm15="http://schemas.microsoft.com/office/thememl/2012/main" name="Kooperation GNH_HEnW_SNH.pptx" id="{3DB460FC-DF83-4715-956B-E8106D980C4D}" vid="{F594DFC2-13F8-4B36-9E39-66584E3A182C}"/>
    </a:ext>
  </a:extLst>
</a:theme>
</file>

<file path=ppt/theme/theme2.xml><?xml version="1.0" encoding="utf-8"?>
<a:theme xmlns:a="http://schemas.openxmlformats.org/drawingml/2006/main" name="KPMG_Talkbook_4x3_1021_2015">
  <a:themeElements>
    <a:clrScheme name="Custom 4">
      <a:dk1>
        <a:sysClr val="windowText" lastClr="000000"/>
      </a:dk1>
      <a:lt1>
        <a:sysClr val="window" lastClr="FFFFFF"/>
      </a:lt1>
      <a:dk2>
        <a:srgbClr val="1F497D"/>
      </a:dk2>
      <a:lt2>
        <a:srgbClr val="0091DA"/>
      </a:lt2>
      <a:accent1>
        <a:srgbClr val="005EB8"/>
      </a:accent1>
      <a:accent2>
        <a:srgbClr val="0091DA"/>
      </a:accent2>
      <a:accent3>
        <a:srgbClr val="483698"/>
      </a:accent3>
      <a:accent4>
        <a:srgbClr val="470A68"/>
      </a:accent4>
      <a:accent5>
        <a:srgbClr val="6D2077"/>
      </a:accent5>
      <a:accent6>
        <a:srgbClr val="00A3A1"/>
      </a:accent6>
      <a:hlink>
        <a:srgbClr val="C6007E"/>
      </a:hlink>
      <a:folHlink>
        <a:srgbClr val="BC204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Univers for KPMG"/>
        <a:font script="Hebr" typeface="Univers for KPMG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Univers for KPMG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338D"/>
        </a:solidFill>
        <a:ln>
          <a:noFill/>
        </a:ln>
        <a:effectLst/>
      </a:spPr>
      <a:bodyPr rtlCol="0" anchor="ctr"/>
      <a:lstStyle>
        <a:defPPr>
          <a:defRPr sz="1200" dirty="0">
            <a:solidFill>
              <a:schemeClr val="bg1"/>
            </a:solidFill>
            <a:latin typeface="Univers for KPMG" panose="020B0603020202020204" pitchFamily="34" charset="0"/>
            <a:cs typeface="KPMG Extra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>
          <a:defRPr sz="1600" dirty="0" smtClean="0">
            <a:latin typeface="Univers for KPMG"/>
            <a:cs typeface="Univers for KPMG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2" id="{35D6EA5F-4FC5-4EB2-8912-A9E84C53F18E}" vid="{A12D5332-53EF-4C57-990A-B50E931F736A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39BB4C3E-55A9-430E-8964-FEB26960F714}">
  <we:reference id="9c4ae91c-a022-4062-b6f5-38e49ed8ba78" version="1.0.34.1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7F19A7478B56B46A4CF5129F4581166" ma:contentTypeVersion="14" ma:contentTypeDescription="Ein neues Dokument erstellen." ma:contentTypeScope="" ma:versionID="19cb2d590be896d98003e82324f03ceb">
  <xsd:schema xmlns:xsd="http://www.w3.org/2001/XMLSchema" xmlns:xs="http://www.w3.org/2001/XMLSchema" xmlns:p="http://schemas.microsoft.com/office/2006/metadata/properties" xmlns:ns2="97f9791b-134e-42d0-b591-a82988b14081" xmlns:ns3="8c1d0a2d-9b56-473c-9aa6-af5a9d4c7601" targetNamespace="http://schemas.microsoft.com/office/2006/metadata/properties" ma:root="true" ma:fieldsID="24a736ed3cf89ce5cc2e176939d2f562" ns2:_="" ns3:_="">
    <xsd:import namespace="97f9791b-134e-42d0-b591-a82988b14081"/>
    <xsd:import namespace="8c1d0a2d-9b56-473c-9aa6-af5a9d4c760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f9791b-134e-42d0-b591-a82988b1408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5" nillable="true" ma:taxonomy="true" ma:internalName="lcf76f155ced4ddcb4097134ff3c332f" ma:taxonomyFieldName="MediaServiceImageTags" ma:displayName="Bildmarkierungen" ma:readOnly="false" ma:fieldId="{5cf76f15-5ced-4ddc-b409-7134ff3c332f}" ma:taxonomyMulti="true" ma:sspId="c9b3dd12-5f57-4f3a-b57c-62dbbeda2b5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1d0a2d-9b56-473c-9aa6-af5a9d4c7601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1d945095-26c5-4cce-b08c-9b23172b6c91}" ma:internalName="TaxCatchAll" ma:showField="CatchAllData" ma:web="8c1d0a2d-9b56-473c-9aa6-af5a9d4c760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c1d0a2d-9b56-473c-9aa6-af5a9d4c7601" xsi:nil="true"/>
    <lcf76f155ced4ddcb4097134ff3c332f xmlns="97f9791b-134e-42d0-b591-a82988b14081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A54E5EC6-565C-4C6F-A99E-8E9AF32AE0AD}">
  <ds:schemaRefs>
    <ds:schemaRef ds:uri="8c1d0a2d-9b56-473c-9aa6-af5a9d4c7601"/>
    <ds:schemaRef ds:uri="97f9791b-134e-42d0-b591-a82988b1408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904FA2AB-6E5F-4B70-A55C-F6620087967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B89B358-0973-4AB9-8F18-5923AF666420}">
  <ds:schemaRefs>
    <ds:schemaRef ds:uri="8c1d0a2d-9b56-473c-9aa6-af5a9d4c7601"/>
    <ds:schemaRef ds:uri="97f9791b-134e-42d0-b591-a82988b1408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6104447a-85ec-4482-b709-219fb68c1534}" enabled="1" method="Standard" siteId="{9100ff08-af6b-433f-b666-b6f24073ff84}" removed="0"/>
  <clbl:label id="{deff24bb-2089-4400-8c8e-f71e680378b2}" enabled="0" method="" siteId="{deff24bb-2089-4400-8c8e-f71e680378b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Kooperation GNH_HEnW_SNH</Template>
  <TotalTime>0</TotalTime>
  <Application>Microsoft Office PowerPoint</Application>
  <PresentationFormat>On-screen Show (16:9)</PresentationFormat>
  <Slides>12</Slides>
  <Notes>3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Hamburg Premium 16:9</vt:lpstr>
      <vt:lpstr>KPMG_Talkbook_4x3_1021_2015</vt:lpstr>
      <vt:lpstr>PowerPoint Presentation</vt:lpstr>
      <vt:lpstr>PowerPoint Presentation</vt:lpstr>
      <vt:lpstr>Vorstellung</vt:lpstr>
      <vt:lpstr>Agenda</vt:lpstr>
      <vt:lpstr>PowerPoint Presentation</vt:lpstr>
      <vt:lpstr>PowerPoint Presentation</vt:lpstr>
      <vt:lpstr>Prozessumfang</vt:lpstr>
      <vt:lpstr>Vorteile für unsere Partner </vt:lpstr>
      <vt:lpstr>Support und Hilfestellung</vt:lpstr>
      <vt:lpstr>Live Demo</vt:lpstr>
      <vt:lpstr>PowerPoint Presentation</vt:lpstr>
      <vt:lpstr>PowerPoint Presentation</vt:lpstr>
    </vt:vector>
  </TitlesOfParts>
  <Manager>Vorname Nachname</Manager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Premium Vorlage</dc:subject>
  <dc:creator>Gutzeit Jonas (SNH ST-MI-PB-BO)</dc:creator>
  <dc:description>Für die PowerPoint Version 2010 optimierte Vorlage</dc:description>
  <cp:revision>1</cp:revision>
  <cp:lastPrinted>2023-11-21T11:33:02Z</cp:lastPrinted>
  <dcterms:created xsi:type="dcterms:W3CDTF">2023-09-15T14:10:19Z</dcterms:created>
  <dcterms:modified xsi:type="dcterms:W3CDTF">2025-04-16T08:32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104447a-85ec-4482-b709-219fb68c1534_Enabled">
    <vt:lpwstr>true</vt:lpwstr>
  </property>
  <property fmtid="{D5CDD505-2E9C-101B-9397-08002B2CF9AE}" pid="3" name="MSIP_Label_6104447a-85ec-4482-b709-219fb68c1534_SetDate">
    <vt:lpwstr>2023-09-15T14:10:40Z</vt:lpwstr>
  </property>
  <property fmtid="{D5CDD505-2E9C-101B-9397-08002B2CF9AE}" pid="4" name="MSIP_Label_6104447a-85ec-4482-b709-219fb68c1534_Method">
    <vt:lpwstr>Standard</vt:lpwstr>
  </property>
  <property fmtid="{D5CDD505-2E9C-101B-9397-08002B2CF9AE}" pid="5" name="MSIP_Label_6104447a-85ec-4482-b709-219fb68c1534_Name">
    <vt:lpwstr>C2_internal</vt:lpwstr>
  </property>
  <property fmtid="{D5CDD505-2E9C-101B-9397-08002B2CF9AE}" pid="6" name="MSIP_Label_6104447a-85ec-4482-b709-219fb68c1534_SiteId">
    <vt:lpwstr>9100ff08-af6b-433f-b666-b6f24073ff84</vt:lpwstr>
  </property>
  <property fmtid="{D5CDD505-2E9C-101B-9397-08002B2CF9AE}" pid="7" name="MSIP_Label_6104447a-85ec-4482-b709-219fb68c1534_ActionId">
    <vt:lpwstr>e2b09d0b-dffb-4e49-8ba6-49033974816b</vt:lpwstr>
  </property>
  <property fmtid="{D5CDD505-2E9C-101B-9397-08002B2CF9AE}" pid="8" name="MSIP_Label_6104447a-85ec-4482-b709-219fb68c1534_ContentBits">
    <vt:lpwstr>0</vt:lpwstr>
  </property>
  <property fmtid="{D5CDD505-2E9C-101B-9397-08002B2CF9AE}" pid="9" name="ContentTypeId">
    <vt:lpwstr>0x01010067F19A7478B56B46A4CF5129F4581166</vt:lpwstr>
  </property>
  <property fmtid="{D5CDD505-2E9C-101B-9397-08002B2CF9AE}" pid="10" name="Tags">
    <vt:lpwstr/>
  </property>
  <property fmtid="{D5CDD505-2E9C-101B-9397-08002B2CF9AE}" pid="11" name="MediaServiceImageTags">
    <vt:lpwstr/>
  </property>
  <property fmtid="{D5CDD505-2E9C-101B-9397-08002B2CF9AE}" pid="12" name="MSIP_Label_9fa36981-5e1f-4cab-a8cf-7996f301a9d3_Method">
    <vt:lpwstr>Standard</vt:lpwstr>
  </property>
  <property fmtid="{D5CDD505-2E9C-101B-9397-08002B2CF9AE}" pid="13" name="MSIP_Label_9fa36981-5e1f-4cab-a8cf-7996f301a9d3_Name">
    <vt:lpwstr>Intern</vt:lpwstr>
  </property>
  <property fmtid="{D5CDD505-2E9C-101B-9397-08002B2CF9AE}" pid="14" name="MSIP_Label_9fa36981-5e1f-4cab-a8cf-7996f301a9d3_Enabled">
    <vt:lpwstr>true</vt:lpwstr>
  </property>
  <property fmtid="{D5CDD505-2E9C-101B-9397-08002B2CF9AE}" pid="15" name="MSIP_Label_9fa36981-5e1f-4cab-a8cf-7996f301a9d3_SetDate">
    <vt:lpwstr>2025-04-15T17:55:30Z</vt:lpwstr>
  </property>
  <property fmtid="{D5CDD505-2E9C-101B-9397-08002B2CF9AE}" pid="16" name="MSIP_Label_9fa36981-5e1f-4cab-a8cf-7996f301a9d3_ContentBits">
    <vt:lpwstr>0</vt:lpwstr>
  </property>
  <property fmtid="{D5CDD505-2E9C-101B-9397-08002B2CF9AE}" pid="17" name="MSIP_Label_9fa36981-5e1f-4cab-a8cf-7996f301a9d3_SiteId">
    <vt:lpwstr>6af97098-95ec-4538-9a68-24b3426aa001</vt:lpwstr>
  </property>
  <property fmtid="{D5CDD505-2E9C-101B-9397-08002B2CF9AE}" pid="18" name="MSIP_Label_9fa36981-5e1f-4cab-a8cf-7996f301a9d3_ActionId">
    <vt:lpwstr>aab6453e-13c8-4174-ae95-0c7c5e983123</vt:lpwstr>
  </property>
</Properties>
</file>